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5"/>
  </p:notesMasterIdLst>
  <p:sldIdLst>
    <p:sldId id="2142532090" r:id="rId3"/>
    <p:sldId id="2145707228" r:id="rId4"/>
    <p:sldId id="2145708767" r:id="rId5"/>
    <p:sldId id="2145708768" r:id="rId6"/>
    <p:sldId id="2145708770" r:id="rId7"/>
    <p:sldId id="2145708769" r:id="rId8"/>
    <p:sldId id="2145708773" r:id="rId9"/>
    <p:sldId id="2145708776" r:id="rId10"/>
    <p:sldId id="2145708772" r:id="rId11"/>
    <p:sldId id="2145708777" r:id="rId12"/>
    <p:sldId id="2145708775" r:id="rId13"/>
    <p:sldId id="2145708774" r:id="rId14"/>
  </p:sldIdLst>
  <p:sldSz cx="12192000" cy="6858000"/>
  <p:notesSz cx="6858000" cy="9144000"/>
  <p:custDataLst>
    <p:tags r:id="rId16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600"/>
    <a:srgbClr val="6F6D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7DFED5-8C36-40FA-A966-407E5A432157}" v="127" dt="2022-12-22T13:32:23.65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7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6/11/relationships/changesInfo" Target="changesInfos/changesInfo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nes Campos Gamez" userId="74513633-b57a-4148-a6c5-5fcdaa6c2d51" providerId="ADAL" clId="{2A7DFED5-8C36-40FA-A966-407E5A432157}"/>
    <pc:docChg chg="undo custSel addSld delSld modSld sldOrd replTag">
      <pc:chgData name="Ines Campos Gamez" userId="74513633-b57a-4148-a6c5-5fcdaa6c2d51" providerId="ADAL" clId="{2A7DFED5-8C36-40FA-A966-407E5A432157}" dt="2022-12-22T13:32:39.542" v="457" actId="478"/>
      <pc:docMkLst>
        <pc:docMk/>
      </pc:docMkLst>
      <pc:sldChg chg="addSp delSp modSp del mod">
        <pc:chgData name="Ines Campos Gamez" userId="74513633-b57a-4148-a6c5-5fcdaa6c2d51" providerId="ADAL" clId="{2A7DFED5-8C36-40FA-A966-407E5A432157}" dt="2022-12-22T12:56:03.110" v="304" actId="47"/>
        <pc:sldMkLst>
          <pc:docMk/>
          <pc:sldMk cId="1577234097" sldId="2145708771"/>
        </pc:sldMkLst>
        <pc:spChg chg="del">
          <ac:chgData name="Ines Campos Gamez" userId="74513633-b57a-4148-a6c5-5fcdaa6c2d51" providerId="ADAL" clId="{2A7DFED5-8C36-40FA-A966-407E5A432157}" dt="2022-12-22T12:28:08.053" v="161" actId="478"/>
          <ac:spMkLst>
            <pc:docMk/>
            <pc:sldMk cId="1577234097" sldId="2145708771"/>
            <ac:spMk id="6" creationId="{12195E85-6856-4A7C-9479-1DDCF65AD7E4}"/>
          </ac:spMkLst>
        </pc:spChg>
        <pc:spChg chg="add mod">
          <ac:chgData name="Ines Campos Gamez" userId="74513633-b57a-4148-a6c5-5fcdaa6c2d51" providerId="ADAL" clId="{2A7DFED5-8C36-40FA-A966-407E5A432157}" dt="2022-12-22T12:28:08.053" v="161" actId="478"/>
          <ac:spMkLst>
            <pc:docMk/>
            <pc:sldMk cId="1577234097" sldId="2145708771"/>
            <ac:spMk id="8" creationId="{D7441ACA-7615-4167-9A04-ADA572BE55EC}"/>
          </ac:spMkLst>
        </pc:spChg>
        <pc:spChg chg="add del">
          <ac:chgData name="Ines Campos Gamez" userId="74513633-b57a-4148-a6c5-5fcdaa6c2d51" providerId="ADAL" clId="{2A7DFED5-8C36-40FA-A966-407E5A432157}" dt="2022-12-22T12:24:09.031" v="2" actId="478"/>
          <ac:spMkLst>
            <pc:docMk/>
            <pc:sldMk cId="1577234097" sldId="2145708771"/>
            <ac:spMk id="40" creationId="{7DAEE574-AEC3-4B7A-87EB-E85E8875EAC8}"/>
          </ac:spMkLst>
        </pc:spChg>
        <pc:spChg chg="add del mod">
          <ac:chgData name="Ines Campos Gamez" userId="74513633-b57a-4148-a6c5-5fcdaa6c2d51" providerId="ADAL" clId="{2A7DFED5-8C36-40FA-A966-407E5A432157}" dt="2022-12-22T12:28:28.750" v="186" actId="478"/>
          <ac:spMkLst>
            <pc:docMk/>
            <pc:sldMk cId="1577234097" sldId="2145708771"/>
            <ac:spMk id="50" creationId="{A6877B66-AAFD-473E-9419-2292CD1A2C37}"/>
          </ac:spMkLst>
        </pc:spChg>
        <pc:graphicFrameChg chg="mod">
          <ac:chgData name="Ines Campos Gamez" userId="74513633-b57a-4148-a6c5-5fcdaa6c2d51" providerId="ADAL" clId="{2A7DFED5-8C36-40FA-A966-407E5A432157}" dt="2022-12-22T12:28:08.561" v="164"/>
          <ac:graphicFrameMkLst>
            <pc:docMk/>
            <pc:sldMk cId="1577234097" sldId="2145708771"/>
            <ac:graphicFrameMk id="7" creationId="{DEFA1DDD-0969-4459-9ABB-4DE29590722D}"/>
          </ac:graphicFrameMkLst>
        </pc:graphicFrameChg>
      </pc:sldChg>
      <pc:sldChg chg="addSp delSp modSp mod modAnim">
        <pc:chgData name="Ines Campos Gamez" userId="74513633-b57a-4148-a6c5-5fcdaa6c2d51" providerId="ADAL" clId="{2A7DFED5-8C36-40FA-A966-407E5A432157}" dt="2022-12-22T12:59:02.512" v="395"/>
        <pc:sldMkLst>
          <pc:docMk/>
          <pc:sldMk cId="2157727829" sldId="2145708772"/>
        </pc:sldMkLst>
        <pc:spChg chg="add mod ord topLvl">
          <ac:chgData name="Ines Campos Gamez" userId="74513633-b57a-4148-a6c5-5fcdaa6c2d51" providerId="ADAL" clId="{2A7DFED5-8C36-40FA-A966-407E5A432157}" dt="2022-12-22T12:58:10.212" v="388" actId="164"/>
          <ac:spMkLst>
            <pc:docMk/>
            <pc:sldMk cId="2157727829" sldId="2145708772"/>
            <ac:spMk id="2" creationId="{36E80ED0-7A28-4CA3-B00F-D9F38BAD44DC}"/>
          </ac:spMkLst>
        </pc:spChg>
        <pc:spChg chg="mod ord">
          <ac:chgData name="Ines Campos Gamez" userId="74513633-b57a-4148-a6c5-5fcdaa6c2d51" providerId="ADAL" clId="{2A7DFED5-8C36-40FA-A966-407E5A432157}" dt="2022-12-22T12:33:40.619" v="242"/>
          <ac:spMkLst>
            <pc:docMk/>
            <pc:sldMk cId="2157727829" sldId="2145708772"/>
            <ac:spMk id="4" creationId="{C1281E7E-806A-4037-A1AF-E70CED87286D}"/>
          </ac:spMkLst>
        </pc:spChg>
        <pc:spChg chg="mod ord">
          <ac:chgData name="Ines Campos Gamez" userId="74513633-b57a-4148-a6c5-5fcdaa6c2d51" providerId="ADAL" clId="{2A7DFED5-8C36-40FA-A966-407E5A432157}" dt="2022-12-22T12:33:40.620" v="244"/>
          <ac:spMkLst>
            <pc:docMk/>
            <pc:sldMk cId="2157727829" sldId="2145708772"/>
            <ac:spMk id="5" creationId="{DB052062-027D-4904-A3CD-CDEB67688DB3}"/>
          </ac:spMkLst>
        </pc:spChg>
        <pc:spChg chg="mod ord">
          <ac:chgData name="Ines Campos Gamez" userId="74513633-b57a-4148-a6c5-5fcdaa6c2d51" providerId="ADAL" clId="{2A7DFED5-8C36-40FA-A966-407E5A432157}" dt="2022-12-22T12:33:40.620" v="246"/>
          <ac:spMkLst>
            <pc:docMk/>
            <pc:sldMk cId="2157727829" sldId="2145708772"/>
            <ac:spMk id="6" creationId="{AEFC64FB-2024-4081-ADB5-869B4F3774E8}"/>
          </ac:spMkLst>
        </pc:spChg>
        <pc:spChg chg="mod ord">
          <ac:chgData name="Ines Campos Gamez" userId="74513633-b57a-4148-a6c5-5fcdaa6c2d51" providerId="ADAL" clId="{2A7DFED5-8C36-40FA-A966-407E5A432157}" dt="2022-12-22T12:33:40.624" v="260"/>
          <ac:spMkLst>
            <pc:docMk/>
            <pc:sldMk cId="2157727829" sldId="2145708772"/>
            <ac:spMk id="39" creationId="{D36F6E9B-0FAD-4040-941A-AFC32A635184}"/>
          </ac:spMkLst>
        </pc:spChg>
        <pc:spChg chg="mod ord">
          <ac:chgData name="Ines Campos Gamez" userId="74513633-b57a-4148-a6c5-5fcdaa6c2d51" providerId="ADAL" clId="{2A7DFED5-8C36-40FA-A966-407E5A432157}" dt="2022-12-22T12:33:40.624" v="262"/>
          <ac:spMkLst>
            <pc:docMk/>
            <pc:sldMk cId="2157727829" sldId="2145708772"/>
            <ac:spMk id="40" creationId="{E6983075-BC7D-474D-A4E8-D17966D30909}"/>
          </ac:spMkLst>
        </pc:spChg>
        <pc:spChg chg="add mod ord topLvl">
          <ac:chgData name="Ines Campos Gamez" userId="74513633-b57a-4148-a6c5-5fcdaa6c2d51" providerId="ADAL" clId="{2A7DFED5-8C36-40FA-A966-407E5A432157}" dt="2022-12-22T12:58:10.212" v="388" actId="164"/>
          <ac:spMkLst>
            <pc:docMk/>
            <pc:sldMk cId="2157727829" sldId="2145708772"/>
            <ac:spMk id="41" creationId="{EDBE5F88-7F93-48B9-AB6D-AC176ECF731B}"/>
          </ac:spMkLst>
        </pc:spChg>
        <pc:spChg chg="mod ord">
          <ac:chgData name="Ines Campos Gamez" userId="74513633-b57a-4148-a6c5-5fcdaa6c2d51" providerId="ADAL" clId="{2A7DFED5-8C36-40FA-A966-407E5A432157}" dt="2022-12-22T12:33:40.625" v="268"/>
          <ac:spMkLst>
            <pc:docMk/>
            <pc:sldMk cId="2157727829" sldId="2145708772"/>
            <ac:spMk id="44" creationId="{E95B7A75-C037-4777-9650-FF1D35D2D9EA}"/>
          </ac:spMkLst>
        </pc:spChg>
        <pc:spChg chg="mod ord">
          <ac:chgData name="Ines Campos Gamez" userId="74513633-b57a-4148-a6c5-5fcdaa6c2d51" providerId="ADAL" clId="{2A7DFED5-8C36-40FA-A966-407E5A432157}" dt="2022-12-22T12:33:40.626" v="270"/>
          <ac:spMkLst>
            <pc:docMk/>
            <pc:sldMk cId="2157727829" sldId="2145708772"/>
            <ac:spMk id="45" creationId="{7195A736-F0C8-4FBD-B6A0-FAFE4E31EDE9}"/>
          </ac:spMkLst>
        </pc:spChg>
        <pc:spChg chg="mod">
          <ac:chgData name="Ines Campos Gamez" userId="74513633-b57a-4148-a6c5-5fcdaa6c2d51" providerId="ADAL" clId="{2A7DFED5-8C36-40FA-A966-407E5A432157}" dt="2022-12-22T12:33:56.058" v="290"/>
          <ac:spMkLst>
            <pc:docMk/>
            <pc:sldMk cId="2157727829" sldId="2145708772"/>
            <ac:spMk id="48" creationId="{3E3D37AB-CE15-4696-8CBD-DDB8E1FB2B10}"/>
          </ac:spMkLst>
        </pc:spChg>
        <pc:spChg chg="mod ord">
          <ac:chgData name="Ines Campos Gamez" userId="74513633-b57a-4148-a6c5-5fcdaa6c2d51" providerId="ADAL" clId="{2A7DFED5-8C36-40FA-A966-407E5A432157}" dt="2022-12-22T12:33:40.627" v="274"/>
          <ac:spMkLst>
            <pc:docMk/>
            <pc:sldMk cId="2157727829" sldId="2145708772"/>
            <ac:spMk id="50" creationId="{A5038D5B-4B77-4849-8ED8-CAD8779A3862}"/>
          </ac:spMkLst>
        </pc:spChg>
        <pc:spChg chg="mod ord">
          <ac:chgData name="Ines Campos Gamez" userId="74513633-b57a-4148-a6c5-5fcdaa6c2d51" providerId="ADAL" clId="{2A7DFED5-8C36-40FA-A966-407E5A432157}" dt="2022-12-22T12:33:40.627" v="276"/>
          <ac:spMkLst>
            <pc:docMk/>
            <pc:sldMk cId="2157727829" sldId="2145708772"/>
            <ac:spMk id="51" creationId="{DB162104-4B3B-468E-81CC-A01BCA939D56}"/>
          </ac:spMkLst>
        </pc:spChg>
        <pc:spChg chg="mod">
          <ac:chgData name="Ines Campos Gamez" userId="74513633-b57a-4148-a6c5-5fcdaa6c2d51" providerId="ADAL" clId="{2A7DFED5-8C36-40FA-A966-407E5A432157}" dt="2022-12-22T12:33:56.058" v="290"/>
          <ac:spMkLst>
            <pc:docMk/>
            <pc:sldMk cId="2157727829" sldId="2145708772"/>
            <ac:spMk id="52" creationId="{4702DD36-D648-4697-8F0A-3E06CA0BB0BB}"/>
          </ac:spMkLst>
        </pc:spChg>
        <pc:grpChg chg="add del mod">
          <ac:chgData name="Ines Campos Gamez" userId="74513633-b57a-4148-a6c5-5fcdaa6c2d51" providerId="ADAL" clId="{2A7DFED5-8C36-40FA-A966-407E5A432157}" dt="2022-12-22T12:57:39.838" v="325" actId="165"/>
          <ac:grpSpMkLst>
            <pc:docMk/>
            <pc:sldMk cId="2157727829" sldId="2145708772"/>
            <ac:grpSpMk id="3" creationId="{12551451-E674-4D0F-85E4-A5EB7F1BE3FB}"/>
          </ac:grpSpMkLst>
        </pc:grpChg>
        <pc:grpChg chg="add mod">
          <ac:chgData name="Ines Campos Gamez" userId="74513633-b57a-4148-a6c5-5fcdaa6c2d51" providerId="ADAL" clId="{2A7DFED5-8C36-40FA-A966-407E5A432157}" dt="2022-12-22T12:57:01.023" v="315" actId="164"/>
          <ac:grpSpMkLst>
            <pc:docMk/>
            <pc:sldMk cId="2157727829" sldId="2145708772"/>
            <ac:grpSpMk id="8" creationId="{883C8BB6-A57D-40BC-9B2D-F959E59E372E}"/>
          </ac:grpSpMkLst>
        </pc:grpChg>
        <pc:grpChg chg="add mod">
          <ac:chgData name="Ines Campos Gamez" userId="74513633-b57a-4148-a6c5-5fcdaa6c2d51" providerId="ADAL" clId="{2A7DFED5-8C36-40FA-A966-407E5A432157}" dt="2022-12-22T12:58:14.010" v="389" actId="1076"/>
          <ac:grpSpMkLst>
            <pc:docMk/>
            <pc:sldMk cId="2157727829" sldId="2145708772"/>
            <ac:grpSpMk id="9" creationId="{666C15B1-DED3-4558-9BF4-E2C2C9502915}"/>
          </ac:grpSpMkLst>
        </pc:grpChg>
        <pc:grpChg chg="mod ord">
          <ac:chgData name="Ines Campos Gamez" userId="74513633-b57a-4148-a6c5-5fcdaa6c2d51" providerId="ADAL" clId="{2A7DFED5-8C36-40FA-A966-407E5A432157}" dt="2022-12-22T12:33:40.621" v="248"/>
          <ac:grpSpMkLst>
            <pc:docMk/>
            <pc:sldMk cId="2157727829" sldId="2145708772"/>
            <ac:grpSpMk id="16" creationId="{9A741755-B8C8-40A1-B669-1C24D0AF392B}"/>
          </ac:grpSpMkLst>
        </pc:grpChg>
        <pc:grpChg chg="mod ord">
          <ac:chgData name="Ines Campos Gamez" userId="74513633-b57a-4148-a6c5-5fcdaa6c2d51" providerId="ADAL" clId="{2A7DFED5-8C36-40FA-A966-407E5A432157}" dt="2022-12-22T12:33:40.622" v="254"/>
          <ac:grpSpMkLst>
            <pc:docMk/>
            <pc:sldMk cId="2157727829" sldId="2145708772"/>
            <ac:grpSpMk id="28" creationId="{A8750B93-0FBF-4C9B-A0CE-7AF1FB6F188E}"/>
          </ac:grpSpMkLst>
        </pc:grpChg>
        <pc:grpChg chg="mod ord">
          <ac:chgData name="Ines Campos Gamez" userId="74513633-b57a-4148-a6c5-5fcdaa6c2d51" providerId="ADAL" clId="{2A7DFED5-8C36-40FA-A966-407E5A432157}" dt="2022-12-22T12:33:40.623" v="256"/>
          <ac:grpSpMkLst>
            <pc:docMk/>
            <pc:sldMk cId="2157727829" sldId="2145708772"/>
            <ac:grpSpMk id="29" creationId="{74EC55E3-F389-45D5-934F-FEF18BE1145E}"/>
          </ac:grpSpMkLst>
        </pc:grpChg>
        <pc:grpChg chg="mod ord">
          <ac:chgData name="Ines Campos Gamez" userId="74513633-b57a-4148-a6c5-5fcdaa6c2d51" providerId="ADAL" clId="{2A7DFED5-8C36-40FA-A966-407E5A432157}" dt="2022-12-22T12:57:01.023" v="315" actId="164"/>
          <ac:grpSpMkLst>
            <pc:docMk/>
            <pc:sldMk cId="2157727829" sldId="2145708772"/>
            <ac:grpSpMk id="33" creationId="{B351B690-F02B-49FF-93DD-FF5C6516F3CE}"/>
          </ac:grpSpMkLst>
        </pc:grpChg>
        <pc:grpChg chg="add mod">
          <ac:chgData name="Ines Campos Gamez" userId="74513633-b57a-4148-a6c5-5fcdaa6c2d51" providerId="ADAL" clId="{2A7DFED5-8C36-40FA-A966-407E5A432157}" dt="2022-12-22T12:33:58.619" v="291" actId="1076"/>
          <ac:grpSpMkLst>
            <pc:docMk/>
            <pc:sldMk cId="2157727829" sldId="2145708772"/>
            <ac:grpSpMk id="46" creationId="{852BF140-CEF9-44A4-AA98-BE86378AB523}"/>
          </ac:grpSpMkLst>
        </pc:grpChg>
        <pc:grpChg chg="mod ord">
          <ac:chgData name="Ines Campos Gamez" userId="74513633-b57a-4148-a6c5-5fcdaa6c2d51" providerId="ADAL" clId="{2A7DFED5-8C36-40FA-A966-407E5A432157}" dt="2022-12-22T12:33:40.626" v="272"/>
          <ac:grpSpMkLst>
            <pc:docMk/>
            <pc:sldMk cId="2157727829" sldId="2145708772"/>
            <ac:grpSpMk id="53" creationId="{724B1A91-9380-4633-9E0C-DA2222E9B4DE}"/>
          </ac:grpSpMkLst>
        </pc:grpChg>
        <pc:graphicFrameChg chg="mod">
          <ac:chgData name="Ines Campos Gamez" userId="74513633-b57a-4148-a6c5-5fcdaa6c2d51" providerId="ADAL" clId="{2A7DFED5-8C36-40FA-A966-407E5A432157}" dt="2022-12-22T12:33:40.631" v="285"/>
          <ac:graphicFrameMkLst>
            <pc:docMk/>
            <pc:sldMk cId="2157727829" sldId="2145708772"/>
            <ac:graphicFrameMk id="7" creationId="{D05B79C9-C8B6-4D51-B753-EA4E0FECE061}"/>
          </ac:graphicFrameMkLst>
        </pc:graphicFrameChg>
        <pc:picChg chg="mod ord">
          <ac:chgData name="Ines Campos Gamez" userId="74513633-b57a-4148-a6c5-5fcdaa6c2d51" providerId="ADAL" clId="{2A7DFED5-8C36-40FA-A966-407E5A432157}" dt="2022-12-22T12:33:40.622" v="250"/>
          <ac:picMkLst>
            <pc:docMk/>
            <pc:sldMk cId="2157727829" sldId="2145708772"/>
            <ac:picMk id="18" creationId="{EFFE9D6B-7124-49BB-A2D7-C69442382FD5}"/>
          </ac:picMkLst>
        </pc:picChg>
        <pc:picChg chg="mod ord">
          <ac:chgData name="Ines Campos Gamez" userId="74513633-b57a-4148-a6c5-5fcdaa6c2d51" providerId="ADAL" clId="{2A7DFED5-8C36-40FA-A966-407E5A432157}" dt="2022-12-22T12:33:40.622" v="252"/>
          <ac:picMkLst>
            <pc:docMk/>
            <pc:sldMk cId="2157727829" sldId="2145708772"/>
            <ac:picMk id="22" creationId="{5299FA8A-99E9-40CB-976F-128A3B567DF2}"/>
          </ac:picMkLst>
        </pc:picChg>
        <pc:picChg chg="mod ord">
          <ac:chgData name="Ines Campos Gamez" userId="74513633-b57a-4148-a6c5-5fcdaa6c2d51" providerId="ADAL" clId="{2A7DFED5-8C36-40FA-A966-407E5A432157}" dt="2022-12-22T12:33:40.627" v="278"/>
          <ac:picMkLst>
            <pc:docMk/>
            <pc:sldMk cId="2157727829" sldId="2145708772"/>
            <ac:picMk id="55" creationId="{61B5A4A2-8846-47F8-85D8-54E0A318F522}"/>
          </ac:picMkLst>
        </pc:picChg>
        <pc:picChg chg="mod ord">
          <ac:chgData name="Ines Campos Gamez" userId="74513633-b57a-4148-a6c5-5fcdaa6c2d51" providerId="ADAL" clId="{2A7DFED5-8C36-40FA-A966-407E5A432157}" dt="2022-12-22T12:57:01.023" v="315" actId="164"/>
          <ac:picMkLst>
            <pc:docMk/>
            <pc:sldMk cId="2157727829" sldId="2145708772"/>
            <ac:picMk id="57" creationId="{32BBC7AA-FE44-4872-B5F3-809341510A44}"/>
          </ac:picMkLst>
        </pc:picChg>
        <pc:cxnChg chg="mod ord topLvl">
          <ac:chgData name="Ines Campos Gamez" userId="74513633-b57a-4148-a6c5-5fcdaa6c2d51" providerId="ADAL" clId="{2A7DFED5-8C36-40FA-A966-407E5A432157}" dt="2022-12-22T12:57:58.970" v="386" actId="1037"/>
          <ac:cxnSpMkLst>
            <pc:docMk/>
            <pc:sldMk cId="2157727829" sldId="2145708772"/>
            <ac:cxnSpMk id="42" creationId="{49B2FCDC-24AE-444B-B973-363E03F74B0F}"/>
          </ac:cxnSpMkLst>
        </pc:cxnChg>
        <pc:cxnChg chg="mod ord">
          <ac:chgData name="Ines Campos Gamez" userId="74513633-b57a-4148-a6c5-5fcdaa6c2d51" providerId="ADAL" clId="{2A7DFED5-8C36-40FA-A966-407E5A432157}" dt="2022-12-22T12:33:40.625" v="266"/>
          <ac:cxnSpMkLst>
            <pc:docMk/>
            <pc:sldMk cId="2157727829" sldId="2145708772"/>
            <ac:cxnSpMk id="43" creationId="{4565121B-F536-445E-AA4C-5FFDBD02BB41}"/>
          </ac:cxnSpMkLst>
        </pc:cxnChg>
        <pc:cxnChg chg="mod">
          <ac:chgData name="Ines Campos Gamez" userId="74513633-b57a-4148-a6c5-5fcdaa6c2d51" providerId="ADAL" clId="{2A7DFED5-8C36-40FA-A966-407E5A432157}" dt="2022-12-22T12:33:56.058" v="290"/>
          <ac:cxnSpMkLst>
            <pc:docMk/>
            <pc:sldMk cId="2157727829" sldId="2145708772"/>
            <ac:cxnSpMk id="47" creationId="{F5942928-CBE6-42C9-A4B3-B78498D655E8}"/>
          </ac:cxnSpMkLst>
        </pc:cxnChg>
      </pc:sldChg>
      <pc:sldChg chg="addSp delSp modSp mod">
        <pc:chgData name="Ines Campos Gamez" userId="74513633-b57a-4148-a6c5-5fcdaa6c2d51" providerId="ADAL" clId="{2A7DFED5-8C36-40FA-A966-407E5A432157}" dt="2022-12-22T13:32:39.542" v="457" actId="478"/>
        <pc:sldMkLst>
          <pc:docMk/>
          <pc:sldMk cId="2677506029" sldId="2145708775"/>
        </pc:sldMkLst>
        <pc:spChg chg="del">
          <ac:chgData name="Ines Campos Gamez" userId="74513633-b57a-4148-a6c5-5fcdaa6c2d51" providerId="ADAL" clId="{2A7DFED5-8C36-40FA-A966-407E5A432157}" dt="2022-12-22T13:32:39.542" v="457" actId="478"/>
          <ac:spMkLst>
            <pc:docMk/>
            <pc:sldMk cId="2677506029" sldId="2145708775"/>
            <ac:spMk id="16" creationId="{DB0B3367-D439-4B1E-BBA4-2FC993287B03}"/>
          </ac:spMkLst>
        </pc:spChg>
        <pc:spChg chg="add mod">
          <ac:chgData name="Ines Campos Gamez" userId="74513633-b57a-4148-a6c5-5fcdaa6c2d51" providerId="ADAL" clId="{2A7DFED5-8C36-40FA-A966-407E5A432157}" dt="2022-12-22T13:32:00.974" v="447" actId="1076"/>
          <ac:spMkLst>
            <pc:docMk/>
            <pc:sldMk cId="2677506029" sldId="2145708775"/>
            <ac:spMk id="17" creationId="{AE8D2632-14A8-40F4-BE32-F31DD81BFE62}"/>
          </ac:spMkLst>
        </pc:spChg>
        <pc:spChg chg="add mod">
          <ac:chgData name="Ines Campos Gamez" userId="74513633-b57a-4148-a6c5-5fcdaa6c2d51" providerId="ADAL" clId="{2A7DFED5-8C36-40FA-A966-407E5A432157}" dt="2022-12-22T13:32:29.560" v="451" actId="1076"/>
          <ac:spMkLst>
            <pc:docMk/>
            <pc:sldMk cId="2677506029" sldId="2145708775"/>
            <ac:spMk id="18" creationId="{110689F4-27DE-48F0-BA54-21F0E22F63CA}"/>
          </ac:spMkLst>
        </pc:spChg>
        <pc:spChg chg="mod">
          <ac:chgData name="Ines Campos Gamez" userId="74513633-b57a-4148-a6c5-5fcdaa6c2d51" providerId="ADAL" clId="{2A7DFED5-8C36-40FA-A966-407E5A432157}" dt="2022-12-22T13:32:04.756" v="448" actId="1076"/>
          <ac:spMkLst>
            <pc:docMk/>
            <pc:sldMk cId="2677506029" sldId="2145708775"/>
            <ac:spMk id="20" creationId="{8147CADB-79B7-47F7-BECA-D258188500C9}"/>
          </ac:spMkLst>
        </pc:spChg>
        <pc:spChg chg="del mod">
          <ac:chgData name="Ines Campos Gamez" userId="74513633-b57a-4148-a6c5-5fcdaa6c2d51" providerId="ADAL" clId="{2A7DFED5-8C36-40FA-A966-407E5A432157}" dt="2022-12-22T13:32:22.414" v="449" actId="478"/>
          <ac:spMkLst>
            <pc:docMk/>
            <pc:sldMk cId="2677506029" sldId="2145708775"/>
            <ac:spMk id="22" creationId="{C0A8BA39-B072-4A95-8F68-3BCC48F4EC99}"/>
          </ac:spMkLst>
        </pc:spChg>
        <pc:spChg chg="mod">
          <ac:chgData name="Ines Campos Gamez" userId="74513633-b57a-4148-a6c5-5fcdaa6c2d51" providerId="ADAL" clId="{2A7DFED5-8C36-40FA-A966-407E5A432157}" dt="2022-12-22T13:32:33.931" v="456" actId="1038"/>
          <ac:spMkLst>
            <pc:docMk/>
            <pc:sldMk cId="2677506029" sldId="2145708775"/>
            <ac:spMk id="23" creationId="{C0465064-0B92-430D-90DE-23A50404284D}"/>
          </ac:spMkLst>
        </pc:spChg>
        <pc:spChg chg="mod">
          <ac:chgData name="Ines Campos Gamez" userId="74513633-b57a-4148-a6c5-5fcdaa6c2d51" providerId="ADAL" clId="{2A7DFED5-8C36-40FA-A966-407E5A432157}" dt="2022-12-22T13:31:41.916" v="445" actId="1076"/>
          <ac:spMkLst>
            <pc:docMk/>
            <pc:sldMk cId="2677506029" sldId="2145708775"/>
            <ac:spMk id="24" creationId="{96B77C1F-0529-4FFD-BBD2-0434FF8B8DE7}"/>
          </ac:spMkLst>
        </pc:spChg>
      </pc:sldChg>
      <pc:sldChg chg="addSp delSp modSp new add mod delAnim modAnim">
        <pc:chgData name="Ines Campos Gamez" userId="74513633-b57a-4148-a6c5-5fcdaa6c2d51" providerId="ADAL" clId="{2A7DFED5-8C36-40FA-A966-407E5A432157}" dt="2022-12-22T13:18:32.474" v="442"/>
        <pc:sldMkLst>
          <pc:docMk/>
          <pc:sldMk cId="158324435" sldId="2145708776"/>
        </pc:sldMkLst>
        <pc:spChg chg="del mod">
          <ac:chgData name="Ines Campos Gamez" userId="74513633-b57a-4148-a6c5-5fcdaa6c2d51" providerId="ADAL" clId="{2A7DFED5-8C36-40FA-A966-407E5A432157}" dt="2022-12-22T12:28:12.232" v="165" actId="478"/>
          <ac:spMkLst>
            <pc:docMk/>
            <pc:sldMk cId="158324435" sldId="2145708776"/>
            <ac:spMk id="2" creationId="{F1A3B75B-8437-44E2-A111-9DFC328C1D8E}"/>
          </ac:spMkLst>
        </pc:spChg>
        <pc:spChg chg="del">
          <ac:chgData name="Ines Campos Gamez" userId="74513633-b57a-4148-a6c5-5fcdaa6c2d51" providerId="ADAL" clId="{2A7DFED5-8C36-40FA-A966-407E5A432157}" dt="2022-12-22T12:24:19.484" v="5" actId="478"/>
          <ac:spMkLst>
            <pc:docMk/>
            <pc:sldMk cId="158324435" sldId="2145708776"/>
            <ac:spMk id="3" creationId="{10BEA306-F11B-4998-8608-11B1839FD1AD}"/>
          </ac:spMkLst>
        </pc:spChg>
        <pc:spChg chg="mod ord">
          <ac:chgData name="Ines Campos Gamez" userId="74513633-b57a-4148-a6c5-5fcdaa6c2d51" providerId="ADAL" clId="{2A7DFED5-8C36-40FA-A966-407E5A432157}" dt="2022-12-22T13:18:08.129" v="408"/>
          <ac:spMkLst>
            <pc:docMk/>
            <pc:sldMk cId="158324435" sldId="2145708776"/>
            <ac:spMk id="4" creationId="{99072804-5B54-4C65-9776-FA01200177E3}"/>
          </ac:spMkLst>
        </pc:spChg>
        <pc:spChg chg="mod ord">
          <ac:chgData name="Ines Campos Gamez" userId="74513633-b57a-4148-a6c5-5fcdaa6c2d51" providerId="ADAL" clId="{2A7DFED5-8C36-40FA-A966-407E5A432157}" dt="2022-12-22T13:18:08.129" v="410"/>
          <ac:spMkLst>
            <pc:docMk/>
            <pc:sldMk cId="158324435" sldId="2145708776"/>
            <ac:spMk id="5" creationId="{B8C74607-DF9A-4043-8B0A-5FFDBF012ECC}"/>
          </ac:spMkLst>
        </pc:spChg>
        <pc:spChg chg="mod">
          <ac:chgData name="Ines Campos Gamez" userId="74513633-b57a-4148-a6c5-5fcdaa6c2d51" providerId="ADAL" clId="{2A7DFED5-8C36-40FA-A966-407E5A432157}" dt="2022-12-22T12:24:20.323" v="6"/>
          <ac:spMkLst>
            <pc:docMk/>
            <pc:sldMk cId="158324435" sldId="2145708776"/>
            <ac:spMk id="7" creationId="{78079764-858E-4130-8EF7-A37CBC12B8BE}"/>
          </ac:spMkLst>
        </pc:spChg>
        <pc:spChg chg="mod">
          <ac:chgData name="Ines Campos Gamez" userId="74513633-b57a-4148-a6c5-5fcdaa6c2d51" providerId="ADAL" clId="{2A7DFED5-8C36-40FA-A966-407E5A432157}" dt="2022-12-22T12:24:20.323" v="6"/>
          <ac:spMkLst>
            <pc:docMk/>
            <pc:sldMk cId="158324435" sldId="2145708776"/>
            <ac:spMk id="9" creationId="{92E9F826-E4DC-44FE-BB4A-8F28FC1EEE0B}"/>
          </ac:spMkLst>
        </pc:spChg>
        <pc:spChg chg="mod">
          <ac:chgData name="Ines Campos Gamez" userId="74513633-b57a-4148-a6c5-5fcdaa6c2d51" providerId="ADAL" clId="{2A7DFED5-8C36-40FA-A966-407E5A432157}" dt="2022-12-22T12:24:20.323" v="6"/>
          <ac:spMkLst>
            <pc:docMk/>
            <pc:sldMk cId="158324435" sldId="2145708776"/>
            <ac:spMk id="15" creationId="{C63B7126-0C1D-4C73-9B2C-6509027B5478}"/>
          </ac:spMkLst>
        </pc:spChg>
        <pc:spChg chg="mod">
          <ac:chgData name="Ines Campos Gamez" userId="74513633-b57a-4148-a6c5-5fcdaa6c2d51" providerId="ADAL" clId="{2A7DFED5-8C36-40FA-A966-407E5A432157}" dt="2022-12-22T12:24:20.323" v="6"/>
          <ac:spMkLst>
            <pc:docMk/>
            <pc:sldMk cId="158324435" sldId="2145708776"/>
            <ac:spMk id="16" creationId="{169A578B-8F6B-4E89-9B22-3D29657ECAC9}"/>
          </ac:spMkLst>
        </pc:spChg>
        <pc:spChg chg="mod">
          <ac:chgData name="Ines Campos Gamez" userId="74513633-b57a-4148-a6c5-5fcdaa6c2d51" providerId="ADAL" clId="{2A7DFED5-8C36-40FA-A966-407E5A432157}" dt="2022-12-22T12:24:20.323" v="6"/>
          <ac:spMkLst>
            <pc:docMk/>
            <pc:sldMk cId="158324435" sldId="2145708776"/>
            <ac:spMk id="17" creationId="{6EC9896B-999C-44E6-84E0-1D9D4E0F254F}"/>
          </ac:spMkLst>
        </pc:spChg>
        <pc:spChg chg="mod">
          <ac:chgData name="Ines Campos Gamez" userId="74513633-b57a-4148-a6c5-5fcdaa6c2d51" providerId="ADAL" clId="{2A7DFED5-8C36-40FA-A966-407E5A432157}" dt="2022-12-22T12:24:20.323" v="6"/>
          <ac:spMkLst>
            <pc:docMk/>
            <pc:sldMk cId="158324435" sldId="2145708776"/>
            <ac:spMk id="18" creationId="{4C6CBF49-59BB-49A7-83A9-54B3851D3EAE}"/>
          </ac:spMkLst>
        </pc:spChg>
        <pc:spChg chg="mod">
          <ac:chgData name="Ines Campos Gamez" userId="74513633-b57a-4148-a6c5-5fcdaa6c2d51" providerId="ADAL" clId="{2A7DFED5-8C36-40FA-A966-407E5A432157}" dt="2022-12-22T12:24:20.323" v="6"/>
          <ac:spMkLst>
            <pc:docMk/>
            <pc:sldMk cId="158324435" sldId="2145708776"/>
            <ac:spMk id="19" creationId="{1116CF80-B653-483E-888E-692AAC6ADDD6}"/>
          </ac:spMkLst>
        </pc:spChg>
        <pc:spChg chg="mod">
          <ac:chgData name="Ines Campos Gamez" userId="74513633-b57a-4148-a6c5-5fcdaa6c2d51" providerId="ADAL" clId="{2A7DFED5-8C36-40FA-A966-407E5A432157}" dt="2022-12-22T12:24:24.811" v="8"/>
          <ac:spMkLst>
            <pc:docMk/>
            <pc:sldMk cId="158324435" sldId="2145708776"/>
            <ac:spMk id="21" creationId="{577AF13F-1E62-413E-A18D-D56182CA0D2B}"/>
          </ac:spMkLst>
        </pc:spChg>
        <pc:spChg chg="mod">
          <ac:chgData name="Ines Campos Gamez" userId="74513633-b57a-4148-a6c5-5fcdaa6c2d51" providerId="ADAL" clId="{2A7DFED5-8C36-40FA-A966-407E5A432157}" dt="2022-12-22T12:24:24.811" v="8"/>
          <ac:spMkLst>
            <pc:docMk/>
            <pc:sldMk cId="158324435" sldId="2145708776"/>
            <ac:spMk id="23" creationId="{63FF1F8D-B42A-45BD-95CC-0ABAB2CC3C89}"/>
          </ac:spMkLst>
        </pc:spChg>
        <pc:spChg chg="mod">
          <ac:chgData name="Ines Campos Gamez" userId="74513633-b57a-4148-a6c5-5fcdaa6c2d51" providerId="ADAL" clId="{2A7DFED5-8C36-40FA-A966-407E5A432157}" dt="2022-12-22T12:24:24.811" v="8"/>
          <ac:spMkLst>
            <pc:docMk/>
            <pc:sldMk cId="158324435" sldId="2145708776"/>
            <ac:spMk id="29" creationId="{91840208-7F0B-4797-8981-298FBCC28D47}"/>
          </ac:spMkLst>
        </pc:spChg>
        <pc:spChg chg="mod">
          <ac:chgData name="Ines Campos Gamez" userId="74513633-b57a-4148-a6c5-5fcdaa6c2d51" providerId="ADAL" clId="{2A7DFED5-8C36-40FA-A966-407E5A432157}" dt="2022-12-22T12:24:24.811" v="8"/>
          <ac:spMkLst>
            <pc:docMk/>
            <pc:sldMk cId="158324435" sldId="2145708776"/>
            <ac:spMk id="30" creationId="{BE68A03B-3F3C-4B89-AC79-12BF180E61F2}"/>
          </ac:spMkLst>
        </pc:spChg>
        <pc:spChg chg="mod">
          <ac:chgData name="Ines Campos Gamez" userId="74513633-b57a-4148-a6c5-5fcdaa6c2d51" providerId="ADAL" clId="{2A7DFED5-8C36-40FA-A966-407E5A432157}" dt="2022-12-22T12:24:24.811" v="8"/>
          <ac:spMkLst>
            <pc:docMk/>
            <pc:sldMk cId="158324435" sldId="2145708776"/>
            <ac:spMk id="31" creationId="{C1620AB4-ED65-452D-AA08-3C684C30481F}"/>
          </ac:spMkLst>
        </pc:spChg>
        <pc:spChg chg="mod">
          <ac:chgData name="Ines Campos Gamez" userId="74513633-b57a-4148-a6c5-5fcdaa6c2d51" providerId="ADAL" clId="{2A7DFED5-8C36-40FA-A966-407E5A432157}" dt="2022-12-22T12:24:24.811" v="8"/>
          <ac:spMkLst>
            <pc:docMk/>
            <pc:sldMk cId="158324435" sldId="2145708776"/>
            <ac:spMk id="32" creationId="{78CA4550-8947-4969-A3DA-01A1211188A3}"/>
          </ac:spMkLst>
        </pc:spChg>
        <pc:spChg chg="mod">
          <ac:chgData name="Ines Campos Gamez" userId="74513633-b57a-4148-a6c5-5fcdaa6c2d51" providerId="ADAL" clId="{2A7DFED5-8C36-40FA-A966-407E5A432157}" dt="2022-12-22T12:24:24.811" v="8"/>
          <ac:spMkLst>
            <pc:docMk/>
            <pc:sldMk cId="158324435" sldId="2145708776"/>
            <ac:spMk id="33" creationId="{741B48ED-4C82-4BDE-904E-406B26A8E95C}"/>
          </ac:spMkLst>
        </pc:spChg>
        <pc:spChg chg="add del mod">
          <ac:chgData name="Ines Campos Gamez" userId="74513633-b57a-4148-a6c5-5fcdaa6c2d51" providerId="ADAL" clId="{2A7DFED5-8C36-40FA-A966-407E5A432157}" dt="2022-12-22T12:24:58.222" v="11"/>
          <ac:spMkLst>
            <pc:docMk/>
            <pc:sldMk cId="158324435" sldId="2145708776"/>
            <ac:spMk id="34" creationId="{62AC7B4C-28E1-4538-9915-4E97949651F4}"/>
          </ac:spMkLst>
        </pc:spChg>
        <pc:spChg chg="add del mod">
          <ac:chgData name="Ines Campos Gamez" userId="74513633-b57a-4148-a6c5-5fcdaa6c2d51" providerId="ADAL" clId="{2A7DFED5-8C36-40FA-A966-407E5A432157}" dt="2022-12-22T12:24:58.222" v="11"/>
          <ac:spMkLst>
            <pc:docMk/>
            <pc:sldMk cId="158324435" sldId="2145708776"/>
            <ac:spMk id="35" creationId="{03439AE0-B734-43C5-80EC-A4CD438C75A8}"/>
          </ac:spMkLst>
        </pc:spChg>
        <pc:spChg chg="add del mod">
          <ac:chgData name="Ines Campos Gamez" userId="74513633-b57a-4148-a6c5-5fcdaa6c2d51" providerId="ADAL" clId="{2A7DFED5-8C36-40FA-A966-407E5A432157}" dt="2022-12-22T12:24:58.222" v="11"/>
          <ac:spMkLst>
            <pc:docMk/>
            <pc:sldMk cId="158324435" sldId="2145708776"/>
            <ac:spMk id="36" creationId="{3DF655A8-E66D-4D00-896F-9F9F2582C330}"/>
          </ac:spMkLst>
        </pc:spChg>
        <pc:spChg chg="add del mod">
          <ac:chgData name="Ines Campos Gamez" userId="74513633-b57a-4148-a6c5-5fcdaa6c2d51" providerId="ADAL" clId="{2A7DFED5-8C36-40FA-A966-407E5A432157}" dt="2022-12-22T12:24:58.222" v="11"/>
          <ac:spMkLst>
            <pc:docMk/>
            <pc:sldMk cId="158324435" sldId="2145708776"/>
            <ac:spMk id="37" creationId="{2039045F-466B-4E3D-B5D0-109919B17AA8}"/>
          </ac:spMkLst>
        </pc:spChg>
        <pc:spChg chg="add del mod">
          <ac:chgData name="Ines Campos Gamez" userId="74513633-b57a-4148-a6c5-5fcdaa6c2d51" providerId="ADAL" clId="{2A7DFED5-8C36-40FA-A966-407E5A432157}" dt="2022-12-22T12:24:58.222" v="11"/>
          <ac:spMkLst>
            <pc:docMk/>
            <pc:sldMk cId="158324435" sldId="2145708776"/>
            <ac:spMk id="38" creationId="{197F16E6-0490-4670-AA4A-03B21897EF86}"/>
          </ac:spMkLst>
        </pc:spChg>
        <pc:spChg chg="mod">
          <ac:chgData name="Ines Campos Gamez" userId="74513633-b57a-4148-a6c5-5fcdaa6c2d51" providerId="ADAL" clId="{2A7DFED5-8C36-40FA-A966-407E5A432157}" dt="2022-12-22T12:24:56.615" v="10"/>
          <ac:spMkLst>
            <pc:docMk/>
            <pc:sldMk cId="158324435" sldId="2145708776"/>
            <ac:spMk id="40" creationId="{60AB6AF4-1A02-477A-9EF9-A238566F84EA}"/>
          </ac:spMkLst>
        </pc:spChg>
        <pc:spChg chg="mod">
          <ac:chgData name="Ines Campos Gamez" userId="74513633-b57a-4148-a6c5-5fcdaa6c2d51" providerId="ADAL" clId="{2A7DFED5-8C36-40FA-A966-407E5A432157}" dt="2022-12-22T12:24:56.615" v="10"/>
          <ac:spMkLst>
            <pc:docMk/>
            <pc:sldMk cId="158324435" sldId="2145708776"/>
            <ac:spMk id="42" creationId="{1236E7B3-0295-4ECF-A1A0-8741C6A77741}"/>
          </ac:spMkLst>
        </pc:spChg>
        <pc:spChg chg="mod">
          <ac:chgData name="Ines Campos Gamez" userId="74513633-b57a-4148-a6c5-5fcdaa6c2d51" providerId="ADAL" clId="{2A7DFED5-8C36-40FA-A966-407E5A432157}" dt="2022-12-22T12:24:56.615" v="10"/>
          <ac:spMkLst>
            <pc:docMk/>
            <pc:sldMk cId="158324435" sldId="2145708776"/>
            <ac:spMk id="48" creationId="{198D7034-09B1-42A7-BA1A-DCF7FB44AFEC}"/>
          </ac:spMkLst>
        </pc:spChg>
        <pc:spChg chg="mod">
          <ac:chgData name="Ines Campos Gamez" userId="74513633-b57a-4148-a6c5-5fcdaa6c2d51" providerId="ADAL" clId="{2A7DFED5-8C36-40FA-A966-407E5A432157}" dt="2022-12-22T12:24:56.615" v="10"/>
          <ac:spMkLst>
            <pc:docMk/>
            <pc:sldMk cId="158324435" sldId="2145708776"/>
            <ac:spMk id="49" creationId="{9BA98A4E-CFE5-4019-952E-22D186CCBAD6}"/>
          </ac:spMkLst>
        </pc:spChg>
        <pc:spChg chg="mod">
          <ac:chgData name="Ines Campos Gamez" userId="74513633-b57a-4148-a6c5-5fcdaa6c2d51" providerId="ADAL" clId="{2A7DFED5-8C36-40FA-A966-407E5A432157}" dt="2022-12-22T12:24:56.615" v="10"/>
          <ac:spMkLst>
            <pc:docMk/>
            <pc:sldMk cId="158324435" sldId="2145708776"/>
            <ac:spMk id="50" creationId="{65276BA3-0571-4DF8-A2A5-1F02CEA2E0D1}"/>
          </ac:spMkLst>
        </pc:spChg>
        <pc:spChg chg="mod">
          <ac:chgData name="Ines Campos Gamez" userId="74513633-b57a-4148-a6c5-5fcdaa6c2d51" providerId="ADAL" clId="{2A7DFED5-8C36-40FA-A966-407E5A432157}" dt="2022-12-22T12:24:56.615" v="10"/>
          <ac:spMkLst>
            <pc:docMk/>
            <pc:sldMk cId="158324435" sldId="2145708776"/>
            <ac:spMk id="51" creationId="{814FC999-29FF-4885-8741-AEC404276079}"/>
          </ac:spMkLst>
        </pc:spChg>
        <pc:spChg chg="mod">
          <ac:chgData name="Ines Campos Gamez" userId="74513633-b57a-4148-a6c5-5fcdaa6c2d51" providerId="ADAL" clId="{2A7DFED5-8C36-40FA-A966-407E5A432157}" dt="2022-12-22T12:24:56.615" v="10"/>
          <ac:spMkLst>
            <pc:docMk/>
            <pc:sldMk cId="158324435" sldId="2145708776"/>
            <ac:spMk id="52" creationId="{232EEA6C-9DD1-4FE0-B0EE-8A84E372E1B2}"/>
          </ac:spMkLst>
        </pc:spChg>
        <pc:spChg chg="add del mod">
          <ac:chgData name="Ines Campos Gamez" userId="74513633-b57a-4148-a6c5-5fcdaa6c2d51" providerId="ADAL" clId="{2A7DFED5-8C36-40FA-A966-407E5A432157}" dt="2022-12-22T12:24:58.222" v="11"/>
          <ac:spMkLst>
            <pc:docMk/>
            <pc:sldMk cId="158324435" sldId="2145708776"/>
            <ac:spMk id="53" creationId="{DB0F2A70-9B70-41AB-8304-A6FEADF4AE58}"/>
          </ac:spMkLst>
        </pc:spChg>
        <pc:spChg chg="add del mod">
          <ac:chgData name="Ines Campos Gamez" userId="74513633-b57a-4148-a6c5-5fcdaa6c2d51" providerId="ADAL" clId="{2A7DFED5-8C36-40FA-A966-407E5A432157}" dt="2022-12-22T12:24:58.222" v="11"/>
          <ac:spMkLst>
            <pc:docMk/>
            <pc:sldMk cId="158324435" sldId="2145708776"/>
            <ac:spMk id="54" creationId="{622E945D-FB5E-4937-8FF4-0D8D6F2CB6F1}"/>
          </ac:spMkLst>
        </pc:spChg>
        <pc:spChg chg="add del mod">
          <ac:chgData name="Ines Campos Gamez" userId="74513633-b57a-4148-a6c5-5fcdaa6c2d51" providerId="ADAL" clId="{2A7DFED5-8C36-40FA-A966-407E5A432157}" dt="2022-12-22T12:24:58.222" v="11"/>
          <ac:spMkLst>
            <pc:docMk/>
            <pc:sldMk cId="158324435" sldId="2145708776"/>
            <ac:spMk id="55" creationId="{E047E319-B0A1-44B4-BA99-9C955B8D0C82}"/>
          </ac:spMkLst>
        </pc:spChg>
        <pc:spChg chg="add del mod">
          <ac:chgData name="Ines Campos Gamez" userId="74513633-b57a-4148-a6c5-5fcdaa6c2d51" providerId="ADAL" clId="{2A7DFED5-8C36-40FA-A966-407E5A432157}" dt="2022-12-22T12:24:58.222" v="11"/>
          <ac:spMkLst>
            <pc:docMk/>
            <pc:sldMk cId="158324435" sldId="2145708776"/>
            <ac:spMk id="56" creationId="{9A429CA8-2A2E-4AA6-B9D5-8388ED65FB62}"/>
          </ac:spMkLst>
        </pc:spChg>
        <pc:spChg chg="add mod">
          <ac:chgData name="Ines Campos Gamez" userId="74513633-b57a-4148-a6c5-5fcdaa6c2d51" providerId="ADAL" clId="{2A7DFED5-8C36-40FA-A966-407E5A432157}" dt="2022-12-22T12:26:42.628" v="140" actId="164"/>
          <ac:spMkLst>
            <pc:docMk/>
            <pc:sldMk cId="158324435" sldId="2145708776"/>
            <ac:spMk id="57" creationId="{1ABC750C-D5FE-4DEC-8A11-D9B5FA48BAF7}"/>
          </ac:spMkLst>
        </pc:spChg>
        <pc:spChg chg="add mod">
          <ac:chgData name="Ines Campos Gamez" userId="74513633-b57a-4148-a6c5-5fcdaa6c2d51" providerId="ADAL" clId="{2A7DFED5-8C36-40FA-A966-407E5A432157}" dt="2022-12-22T12:26:42.628" v="140" actId="164"/>
          <ac:spMkLst>
            <pc:docMk/>
            <pc:sldMk cId="158324435" sldId="2145708776"/>
            <ac:spMk id="58" creationId="{355F7028-B865-4CEF-9A18-CA7C44AEAFF7}"/>
          </ac:spMkLst>
        </pc:spChg>
        <pc:spChg chg="add mod">
          <ac:chgData name="Ines Campos Gamez" userId="74513633-b57a-4148-a6c5-5fcdaa6c2d51" providerId="ADAL" clId="{2A7DFED5-8C36-40FA-A966-407E5A432157}" dt="2022-12-22T12:26:42.628" v="140" actId="164"/>
          <ac:spMkLst>
            <pc:docMk/>
            <pc:sldMk cId="158324435" sldId="2145708776"/>
            <ac:spMk id="59" creationId="{EDD01906-43A3-451E-988E-C81473290EEB}"/>
          </ac:spMkLst>
        </pc:spChg>
        <pc:spChg chg="add mod">
          <ac:chgData name="Ines Campos Gamez" userId="74513633-b57a-4148-a6c5-5fcdaa6c2d51" providerId="ADAL" clId="{2A7DFED5-8C36-40FA-A966-407E5A432157}" dt="2022-12-22T12:26:42.628" v="140" actId="164"/>
          <ac:spMkLst>
            <pc:docMk/>
            <pc:sldMk cId="158324435" sldId="2145708776"/>
            <ac:spMk id="60" creationId="{7B48D250-7559-4D79-A50C-819938589694}"/>
          </ac:spMkLst>
        </pc:spChg>
        <pc:spChg chg="add mod">
          <ac:chgData name="Ines Campos Gamez" userId="74513633-b57a-4148-a6c5-5fcdaa6c2d51" providerId="ADAL" clId="{2A7DFED5-8C36-40FA-A966-407E5A432157}" dt="2022-12-22T12:26:42.628" v="140" actId="164"/>
          <ac:spMkLst>
            <pc:docMk/>
            <pc:sldMk cId="158324435" sldId="2145708776"/>
            <ac:spMk id="61" creationId="{D31270A8-7801-439A-B476-C9ABB9BF994F}"/>
          </ac:spMkLst>
        </pc:spChg>
        <pc:spChg chg="mod topLvl">
          <ac:chgData name="Ines Campos Gamez" userId="74513633-b57a-4148-a6c5-5fcdaa6c2d51" providerId="ADAL" clId="{2A7DFED5-8C36-40FA-A966-407E5A432157}" dt="2022-12-22T12:26:29.046" v="133" actId="164"/>
          <ac:spMkLst>
            <pc:docMk/>
            <pc:sldMk cId="158324435" sldId="2145708776"/>
            <ac:spMk id="63" creationId="{F23E4CF8-4504-4EAF-BA6F-CCF08A00BDC9}"/>
          </ac:spMkLst>
        </pc:spChg>
        <pc:spChg chg="mod topLvl">
          <ac:chgData name="Ines Campos Gamez" userId="74513633-b57a-4148-a6c5-5fcdaa6c2d51" providerId="ADAL" clId="{2A7DFED5-8C36-40FA-A966-407E5A432157}" dt="2022-12-22T12:26:29.046" v="133" actId="164"/>
          <ac:spMkLst>
            <pc:docMk/>
            <pc:sldMk cId="158324435" sldId="2145708776"/>
            <ac:spMk id="65" creationId="{13B7D2AC-3F51-4A47-B820-1E208D8A45B1}"/>
          </ac:spMkLst>
        </pc:spChg>
        <pc:spChg chg="mod">
          <ac:chgData name="Ines Campos Gamez" userId="74513633-b57a-4148-a6c5-5fcdaa6c2d51" providerId="ADAL" clId="{2A7DFED5-8C36-40FA-A966-407E5A432157}" dt="2022-12-22T12:26:26.483" v="132" actId="165"/>
          <ac:spMkLst>
            <pc:docMk/>
            <pc:sldMk cId="158324435" sldId="2145708776"/>
            <ac:spMk id="71" creationId="{2F404DA8-20E8-4E73-8662-4EE57D5FF67E}"/>
          </ac:spMkLst>
        </pc:spChg>
        <pc:spChg chg="mod">
          <ac:chgData name="Ines Campos Gamez" userId="74513633-b57a-4148-a6c5-5fcdaa6c2d51" providerId="ADAL" clId="{2A7DFED5-8C36-40FA-A966-407E5A432157}" dt="2022-12-22T12:26:26.483" v="132" actId="165"/>
          <ac:spMkLst>
            <pc:docMk/>
            <pc:sldMk cId="158324435" sldId="2145708776"/>
            <ac:spMk id="72" creationId="{AE5C4AE3-39BF-4EA5-B4D9-B42FFF20B801}"/>
          </ac:spMkLst>
        </pc:spChg>
        <pc:spChg chg="mod">
          <ac:chgData name="Ines Campos Gamez" userId="74513633-b57a-4148-a6c5-5fcdaa6c2d51" providerId="ADAL" clId="{2A7DFED5-8C36-40FA-A966-407E5A432157}" dt="2022-12-22T12:26:26.483" v="132" actId="165"/>
          <ac:spMkLst>
            <pc:docMk/>
            <pc:sldMk cId="158324435" sldId="2145708776"/>
            <ac:spMk id="73" creationId="{4A607E93-F048-44DE-A46F-FCFE679AA1E2}"/>
          </ac:spMkLst>
        </pc:spChg>
        <pc:spChg chg="mod">
          <ac:chgData name="Ines Campos Gamez" userId="74513633-b57a-4148-a6c5-5fcdaa6c2d51" providerId="ADAL" clId="{2A7DFED5-8C36-40FA-A966-407E5A432157}" dt="2022-12-22T12:26:26.483" v="132" actId="165"/>
          <ac:spMkLst>
            <pc:docMk/>
            <pc:sldMk cId="158324435" sldId="2145708776"/>
            <ac:spMk id="74" creationId="{23FC2E8A-69E0-4272-8C97-9D04D49B53EE}"/>
          </ac:spMkLst>
        </pc:spChg>
        <pc:spChg chg="mod">
          <ac:chgData name="Ines Campos Gamez" userId="74513633-b57a-4148-a6c5-5fcdaa6c2d51" providerId="ADAL" clId="{2A7DFED5-8C36-40FA-A966-407E5A432157}" dt="2022-12-22T12:26:26.483" v="132" actId="165"/>
          <ac:spMkLst>
            <pc:docMk/>
            <pc:sldMk cId="158324435" sldId="2145708776"/>
            <ac:spMk id="75" creationId="{0975CDA7-9705-46C8-A384-63DDF41E880B}"/>
          </ac:spMkLst>
        </pc:spChg>
        <pc:spChg chg="add mod">
          <ac:chgData name="Ines Campos Gamez" userId="74513633-b57a-4148-a6c5-5fcdaa6c2d51" providerId="ADAL" clId="{2A7DFED5-8C36-40FA-A966-407E5A432157}" dt="2022-12-22T12:26:42.628" v="140" actId="164"/>
          <ac:spMkLst>
            <pc:docMk/>
            <pc:sldMk cId="158324435" sldId="2145708776"/>
            <ac:spMk id="76" creationId="{8801A609-2D06-4AB7-B799-77004C0202F1}"/>
          </ac:spMkLst>
        </pc:spChg>
        <pc:spChg chg="add mod">
          <ac:chgData name="Ines Campos Gamez" userId="74513633-b57a-4148-a6c5-5fcdaa6c2d51" providerId="ADAL" clId="{2A7DFED5-8C36-40FA-A966-407E5A432157}" dt="2022-12-22T12:26:42.628" v="140" actId="164"/>
          <ac:spMkLst>
            <pc:docMk/>
            <pc:sldMk cId="158324435" sldId="2145708776"/>
            <ac:spMk id="77" creationId="{15BBE202-A662-45B7-9F79-22B9DE9592FA}"/>
          </ac:spMkLst>
        </pc:spChg>
        <pc:spChg chg="add mod">
          <ac:chgData name="Ines Campos Gamez" userId="74513633-b57a-4148-a6c5-5fcdaa6c2d51" providerId="ADAL" clId="{2A7DFED5-8C36-40FA-A966-407E5A432157}" dt="2022-12-22T12:26:42.628" v="140" actId="164"/>
          <ac:spMkLst>
            <pc:docMk/>
            <pc:sldMk cId="158324435" sldId="2145708776"/>
            <ac:spMk id="78" creationId="{767CAB1C-A4B2-4A9B-9E44-D35C4D5B6674}"/>
          </ac:spMkLst>
        </pc:spChg>
        <pc:spChg chg="add mod">
          <ac:chgData name="Ines Campos Gamez" userId="74513633-b57a-4148-a6c5-5fcdaa6c2d51" providerId="ADAL" clId="{2A7DFED5-8C36-40FA-A966-407E5A432157}" dt="2022-12-22T12:26:42.628" v="140" actId="164"/>
          <ac:spMkLst>
            <pc:docMk/>
            <pc:sldMk cId="158324435" sldId="2145708776"/>
            <ac:spMk id="79" creationId="{82B88D6F-F1FE-407D-AD4F-74A2BC76278C}"/>
          </ac:spMkLst>
        </pc:spChg>
        <pc:spChg chg="add del mod">
          <ac:chgData name="Ines Campos Gamez" userId="74513633-b57a-4148-a6c5-5fcdaa6c2d51" providerId="ADAL" clId="{2A7DFED5-8C36-40FA-A966-407E5A432157}" dt="2022-12-22T12:25:58.353" v="87"/>
          <ac:spMkLst>
            <pc:docMk/>
            <pc:sldMk cId="158324435" sldId="2145708776"/>
            <ac:spMk id="80" creationId="{FE89AD57-2C5E-42C1-8803-DE96B93DB864}"/>
          </ac:spMkLst>
        </pc:spChg>
        <pc:spChg chg="add del mod">
          <ac:chgData name="Ines Campos Gamez" userId="74513633-b57a-4148-a6c5-5fcdaa6c2d51" providerId="ADAL" clId="{2A7DFED5-8C36-40FA-A966-407E5A432157}" dt="2022-12-22T12:25:58.353" v="87"/>
          <ac:spMkLst>
            <pc:docMk/>
            <pc:sldMk cId="158324435" sldId="2145708776"/>
            <ac:spMk id="81" creationId="{9CD758A5-3BE5-40F9-BE39-65850D042387}"/>
          </ac:spMkLst>
        </pc:spChg>
        <pc:spChg chg="add del mod">
          <ac:chgData name="Ines Campos Gamez" userId="74513633-b57a-4148-a6c5-5fcdaa6c2d51" providerId="ADAL" clId="{2A7DFED5-8C36-40FA-A966-407E5A432157}" dt="2022-12-22T12:25:58.353" v="87"/>
          <ac:spMkLst>
            <pc:docMk/>
            <pc:sldMk cId="158324435" sldId="2145708776"/>
            <ac:spMk id="82" creationId="{E6454FC6-22B5-4A71-BEF5-71CC6C8694B7}"/>
          </ac:spMkLst>
        </pc:spChg>
        <pc:spChg chg="add del mod">
          <ac:chgData name="Ines Campos Gamez" userId="74513633-b57a-4148-a6c5-5fcdaa6c2d51" providerId="ADAL" clId="{2A7DFED5-8C36-40FA-A966-407E5A432157}" dt="2022-12-22T12:25:58.353" v="87"/>
          <ac:spMkLst>
            <pc:docMk/>
            <pc:sldMk cId="158324435" sldId="2145708776"/>
            <ac:spMk id="83" creationId="{2EECD56D-D2AA-4003-B7D9-5F568BF2E85C}"/>
          </ac:spMkLst>
        </pc:spChg>
        <pc:spChg chg="add del mod">
          <ac:chgData name="Ines Campos Gamez" userId="74513633-b57a-4148-a6c5-5fcdaa6c2d51" providerId="ADAL" clId="{2A7DFED5-8C36-40FA-A966-407E5A432157}" dt="2022-12-22T12:25:58.353" v="87"/>
          <ac:spMkLst>
            <pc:docMk/>
            <pc:sldMk cId="158324435" sldId="2145708776"/>
            <ac:spMk id="84" creationId="{2C39E453-439E-4D11-9DB6-74327639685F}"/>
          </ac:spMkLst>
        </pc:spChg>
        <pc:spChg chg="mod">
          <ac:chgData name="Ines Campos Gamez" userId="74513633-b57a-4148-a6c5-5fcdaa6c2d51" providerId="ADAL" clId="{2A7DFED5-8C36-40FA-A966-407E5A432157}" dt="2022-12-22T12:25:56.619" v="86"/>
          <ac:spMkLst>
            <pc:docMk/>
            <pc:sldMk cId="158324435" sldId="2145708776"/>
            <ac:spMk id="86" creationId="{BA96584F-A9FA-4C11-90C3-E00C3A2A7AD6}"/>
          </ac:spMkLst>
        </pc:spChg>
        <pc:spChg chg="mod">
          <ac:chgData name="Ines Campos Gamez" userId="74513633-b57a-4148-a6c5-5fcdaa6c2d51" providerId="ADAL" clId="{2A7DFED5-8C36-40FA-A966-407E5A432157}" dt="2022-12-22T12:25:56.619" v="86"/>
          <ac:spMkLst>
            <pc:docMk/>
            <pc:sldMk cId="158324435" sldId="2145708776"/>
            <ac:spMk id="88" creationId="{1F81E4BC-48C9-4934-AD38-5A285941B5A0}"/>
          </ac:spMkLst>
        </pc:spChg>
        <pc:spChg chg="mod">
          <ac:chgData name="Ines Campos Gamez" userId="74513633-b57a-4148-a6c5-5fcdaa6c2d51" providerId="ADAL" clId="{2A7DFED5-8C36-40FA-A966-407E5A432157}" dt="2022-12-22T12:25:56.619" v="86"/>
          <ac:spMkLst>
            <pc:docMk/>
            <pc:sldMk cId="158324435" sldId="2145708776"/>
            <ac:spMk id="94" creationId="{A0A79CA1-17B6-40AF-B2B1-6082080A54A9}"/>
          </ac:spMkLst>
        </pc:spChg>
        <pc:spChg chg="mod">
          <ac:chgData name="Ines Campos Gamez" userId="74513633-b57a-4148-a6c5-5fcdaa6c2d51" providerId="ADAL" clId="{2A7DFED5-8C36-40FA-A966-407E5A432157}" dt="2022-12-22T12:25:56.619" v="86"/>
          <ac:spMkLst>
            <pc:docMk/>
            <pc:sldMk cId="158324435" sldId="2145708776"/>
            <ac:spMk id="95" creationId="{724864C3-A2AB-4ECF-B847-301F74C70140}"/>
          </ac:spMkLst>
        </pc:spChg>
        <pc:spChg chg="mod">
          <ac:chgData name="Ines Campos Gamez" userId="74513633-b57a-4148-a6c5-5fcdaa6c2d51" providerId="ADAL" clId="{2A7DFED5-8C36-40FA-A966-407E5A432157}" dt="2022-12-22T12:25:56.619" v="86"/>
          <ac:spMkLst>
            <pc:docMk/>
            <pc:sldMk cId="158324435" sldId="2145708776"/>
            <ac:spMk id="96" creationId="{7CE67A35-3508-455B-A0E4-A9FF8E83CFF4}"/>
          </ac:spMkLst>
        </pc:spChg>
        <pc:spChg chg="mod">
          <ac:chgData name="Ines Campos Gamez" userId="74513633-b57a-4148-a6c5-5fcdaa6c2d51" providerId="ADAL" clId="{2A7DFED5-8C36-40FA-A966-407E5A432157}" dt="2022-12-22T12:25:56.619" v="86"/>
          <ac:spMkLst>
            <pc:docMk/>
            <pc:sldMk cId="158324435" sldId="2145708776"/>
            <ac:spMk id="97" creationId="{5BE5B839-E3E7-42BC-8B4A-E85BEC1FBB2E}"/>
          </ac:spMkLst>
        </pc:spChg>
        <pc:spChg chg="mod">
          <ac:chgData name="Ines Campos Gamez" userId="74513633-b57a-4148-a6c5-5fcdaa6c2d51" providerId="ADAL" clId="{2A7DFED5-8C36-40FA-A966-407E5A432157}" dt="2022-12-22T12:25:56.619" v="86"/>
          <ac:spMkLst>
            <pc:docMk/>
            <pc:sldMk cId="158324435" sldId="2145708776"/>
            <ac:spMk id="98" creationId="{2A5E2463-C9B3-4AEC-BB23-1B229DAAE926}"/>
          </ac:spMkLst>
        </pc:spChg>
        <pc:spChg chg="add del mod">
          <ac:chgData name="Ines Campos Gamez" userId="74513633-b57a-4148-a6c5-5fcdaa6c2d51" providerId="ADAL" clId="{2A7DFED5-8C36-40FA-A966-407E5A432157}" dt="2022-12-22T12:25:58.353" v="87"/>
          <ac:spMkLst>
            <pc:docMk/>
            <pc:sldMk cId="158324435" sldId="2145708776"/>
            <ac:spMk id="99" creationId="{7425C717-1C3C-4D62-B377-B2F7B7AAA140}"/>
          </ac:spMkLst>
        </pc:spChg>
        <pc:spChg chg="add del mod">
          <ac:chgData name="Ines Campos Gamez" userId="74513633-b57a-4148-a6c5-5fcdaa6c2d51" providerId="ADAL" clId="{2A7DFED5-8C36-40FA-A966-407E5A432157}" dt="2022-12-22T12:25:58.353" v="87"/>
          <ac:spMkLst>
            <pc:docMk/>
            <pc:sldMk cId="158324435" sldId="2145708776"/>
            <ac:spMk id="100" creationId="{3E6628A2-5535-4B30-8956-35AE137FCE72}"/>
          </ac:spMkLst>
        </pc:spChg>
        <pc:spChg chg="add del mod">
          <ac:chgData name="Ines Campos Gamez" userId="74513633-b57a-4148-a6c5-5fcdaa6c2d51" providerId="ADAL" clId="{2A7DFED5-8C36-40FA-A966-407E5A432157}" dt="2022-12-22T12:25:58.353" v="87"/>
          <ac:spMkLst>
            <pc:docMk/>
            <pc:sldMk cId="158324435" sldId="2145708776"/>
            <ac:spMk id="101" creationId="{2F2542C9-6A6D-4759-86B4-45025C50ED12}"/>
          </ac:spMkLst>
        </pc:spChg>
        <pc:spChg chg="add del mod">
          <ac:chgData name="Ines Campos Gamez" userId="74513633-b57a-4148-a6c5-5fcdaa6c2d51" providerId="ADAL" clId="{2A7DFED5-8C36-40FA-A966-407E5A432157}" dt="2022-12-22T12:25:58.353" v="87"/>
          <ac:spMkLst>
            <pc:docMk/>
            <pc:sldMk cId="158324435" sldId="2145708776"/>
            <ac:spMk id="102" creationId="{9CB90140-E764-4F65-9444-DE4BB69DC1A6}"/>
          </ac:spMkLst>
        </pc:spChg>
        <pc:spChg chg="add mod">
          <ac:chgData name="Ines Campos Gamez" userId="74513633-b57a-4148-a6c5-5fcdaa6c2d51" providerId="ADAL" clId="{2A7DFED5-8C36-40FA-A966-407E5A432157}" dt="2022-12-22T12:26:42.628" v="140" actId="164"/>
          <ac:spMkLst>
            <pc:docMk/>
            <pc:sldMk cId="158324435" sldId="2145708776"/>
            <ac:spMk id="103" creationId="{5B4AFEAF-CD7E-4D6A-A0F8-AEC421874F3C}"/>
          </ac:spMkLst>
        </pc:spChg>
        <pc:spChg chg="mod">
          <ac:chgData name="Ines Campos Gamez" userId="74513633-b57a-4148-a6c5-5fcdaa6c2d51" providerId="ADAL" clId="{2A7DFED5-8C36-40FA-A966-407E5A432157}" dt="2022-12-22T12:26:57.784" v="142"/>
          <ac:spMkLst>
            <pc:docMk/>
            <pc:sldMk cId="158324435" sldId="2145708776"/>
            <ac:spMk id="109" creationId="{44E508C0-D0CD-40B9-ABF9-1A6410783D99}"/>
          </ac:spMkLst>
        </pc:spChg>
        <pc:spChg chg="mod">
          <ac:chgData name="Ines Campos Gamez" userId="74513633-b57a-4148-a6c5-5fcdaa6c2d51" providerId="ADAL" clId="{2A7DFED5-8C36-40FA-A966-407E5A432157}" dt="2022-12-22T12:27:08.548" v="144"/>
          <ac:spMkLst>
            <pc:docMk/>
            <pc:sldMk cId="158324435" sldId="2145708776"/>
            <ac:spMk id="112" creationId="{4B7F6376-ABEA-4D6E-9FF2-F43E6D3C4F39}"/>
          </ac:spMkLst>
        </pc:spChg>
        <pc:spChg chg="mod">
          <ac:chgData name="Ines Campos Gamez" userId="74513633-b57a-4148-a6c5-5fcdaa6c2d51" providerId="ADAL" clId="{2A7DFED5-8C36-40FA-A966-407E5A432157}" dt="2022-12-22T12:27:17.832" v="146"/>
          <ac:spMkLst>
            <pc:docMk/>
            <pc:sldMk cId="158324435" sldId="2145708776"/>
            <ac:spMk id="115" creationId="{D477CF50-C197-4833-8656-E746D9CCB6C4}"/>
          </ac:spMkLst>
        </pc:spChg>
        <pc:spChg chg="mod">
          <ac:chgData name="Ines Campos Gamez" userId="74513633-b57a-4148-a6c5-5fcdaa6c2d51" providerId="ADAL" clId="{2A7DFED5-8C36-40FA-A966-407E5A432157}" dt="2022-12-22T12:27:26.850" v="148"/>
          <ac:spMkLst>
            <pc:docMk/>
            <pc:sldMk cId="158324435" sldId="2145708776"/>
            <ac:spMk id="118" creationId="{853EF886-8C30-436B-BBF9-85D3A60E2188}"/>
          </ac:spMkLst>
        </pc:spChg>
        <pc:spChg chg="add mod ord topLvl">
          <ac:chgData name="Ines Campos Gamez" userId="74513633-b57a-4148-a6c5-5fcdaa6c2d51" providerId="ADAL" clId="{2A7DFED5-8C36-40FA-A966-407E5A432157}" dt="2022-12-22T13:18:26.250" v="441" actId="164"/>
          <ac:spMkLst>
            <pc:docMk/>
            <pc:sldMk cId="158324435" sldId="2145708776"/>
            <ac:spMk id="121" creationId="{968B26C7-1051-47B4-B610-99984C4EA452}"/>
          </ac:spMkLst>
        </pc:spChg>
        <pc:spChg chg="add mod ord">
          <ac:chgData name="Ines Campos Gamez" userId="74513633-b57a-4148-a6c5-5fcdaa6c2d51" providerId="ADAL" clId="{2A7DFED5-8C36-40FA-A966-407E5A432157}" dt="2022-12-22T13:18:08.137" v="424"/>
          <ac:spMkLst>
            <pc:docMk/>
            <pc:sldMk cId="158324435" sldId="2145708776"/>
            <ac:spMk id="123" creationId="{8819F0D6-3333-4279-88F6-8307FDB3C93B}"/>
          </ac:spMkLst>
        </pc:spChg>
        <pc:spChg chg="add mod ord">
          <ac:chgData name="Ines Campos Gamez" userId="74513633-b57a-4148-a6c5-5fcdaa6c2d51" providerId="ADAL" clId="{2A7DFED5-8C36-40FA-A966-407E5A432157}" dt="2022-12-22T13:18:08.137" v="426"/>
          <ac:spMkLst>
            <pc:docMk/>
            <pc:sldMk cId="158324435" sldId="2145708776"/>
            <ac:spMk id="124" creationId="{59D7D931-C366-43EA-9676-FEF6E92E54C7}"/>
          </ac:spMkLst>
        </pc:spChg>
        <pc:spChg chg="add mod ord">
          <ac:chgData name="Ines Campos Gamez" userId="74513633-b57a-4148-a6c5-5fcdaa6c2d51" providerId="ADAL" clId="{2A7DFED5-8C36-40FA-A966-407E5A432157}" dt="2022-12-22T13:18:08.143" v="428"/>
          <ac:spMkLst>
            <pc:docMk/>
            <pc:sldMk cId="158324435" sldId="2145708776"/>
            <ac:spMk id="125" creationId="{B7FE8206-80D9-49AE-9440-FA1AA3014E87}"/>
          </ac:spMkLst>
        </pc:spChg>
        <pc:spChg chg="add mod ord">
          <ac:chgData name="Ines Campos Gamez" userId="74513633-b57a-4148-a6c5-5fcdaa6c2d51" providerId="ADAL" clId="{2A7DFED5-8C36-40FA-A966-407E5A432157}" dt="2022-12-22T13:18:08.143" v="430"/>
          <ac:spMkLst>
            <pc:docMk/>
            <pc:sldMk cId="158324435" sldId="2145708776"/>
            <ac:spMk id="126" creationId="{17B45F31-76C4-46D1-8858-418588040AF8}"/>
          </ac:spMkLst>
        </pc:spChg>
        <pc:spChg chg="add mod ord">
          <ac:chgData name="Ines Campos Gamez" userId="74513633-b57a-4148-a6c5-5fcdaa6c2d51" providerId="ADAL" clId="{2A7DFED5-8C36-40FA-A966-407E5A432157}" dt="2022-12-22T13:18:08.145" v="432"/>
          <ac:spMkLst>
            <pc:docMk/>
            <pc:sldMk cId="158324435" sldId="2145708776"/>
            <ac:spMk id="127" creationId="{DA212FCF-1880-428D-B586-BA499966C60D}"/>
          </ac:spMkLst>
        </pc:spChg>
        <pc:spChg chg="add mod ord">
          <ac:chgData name="Ines Campos Gamez" userId="74513633-b57a-4148-a6c5-5fcdaa6c2d51" providerId="ADAL" clId="{2A7DFED5-8C36-40FA-A966-407E5A432157}" dt="2022-12-22T13:18:08.145" v="434"/>
          <ac:spMkLst>
            <pc:docMk/>
            <pc:sldMk cId="158324435" sldId="2145708776"/>
            <ac:spMk id="128" creationId="{694E55FC-548B-487B-A2E8-B13AE906DB45}"/>
          </ac:spMkLst>
        </pc:spChg>
        <pc:grpChg chg="add del mod">
          <ac:chgData name="Ines Campos Gamez" userId="74513633-b57a-4148-a6c5-5fcdaa6c2d51" providerId="ADAL" clId="{2A7DFED5-8C36-40FA-A966-407E5A432157}" dt="2022-12-22T12:24:22.064" v="7"/>
          <ac:grpSpMkLst>
            <pc:docMk/>
            <pc:sldMk cId="158324435" sldId="2145708776"/>
            <ac:grpSpMk id="6" creationId="{6ED81A0F-8F6E-4D6A-A230-CD285C5869B0}"/>
          </ac:grpSpMkLst>
        </pc:grpChg>
        <pc:grpChg chg="mod">
          <ac:chgData name="Ines Campos Gamez" userId="74513633-b57a-4148-a6c5-5fcdaa6c2d51" providerId="ADAL" clId="{2A7DFED5-8C36-40FA-A966-407E5A432157}" dt="2022-12-22T12:24:20.323" v="6"/>
          <ac:grpSpMkLst>
            <pc:docMk/>
            <pc:sldMk cId="158324435" sldId="2145708776"/>
            <ac:grpSpMk id="8" creationId="{9A8EB8AD-1ABD-4E43-84F7-2B8FC6004990}"/>
          </ac:grpSpMkLst>
        </pc:grpChg>
        <pc:grpChg chg="add del mod">
          <ac:chgData name="Ines Campos Gamez" userId="74513633-b57a-4148-a6c5-5fcdaa6c2d51" providerId="ADAL" clId="{2A7DFED5-8C36-40FA-A966-407E5A432157}" dt="2022-12-22T12:24:43.442" v="9" actId="478"/>
          <ac:grpSpMkLst>
            <pc:docMk/>
            <pc:sldMk cId="158324435" sldId="2145708776"/>
            <ac:grpSpMk id="20" creationId="{33241DFD-69B4-4F6C-931E-750D94CE4EA2}"/>
          </ac:grpSpMkLst>
        </pc:grpChg>
        <pc:grpChg chg="mod">
          <ac:chgData name="Ines Campos Gamez" userId="74513633-b57a-4148-a6c5-5fcdaa6c2d51" providerId="ADAL" clId="{2A7DFED5-8C36-40FA-A966-407E5A432157}" dt="2022-12-22T12:24:24.811" v="8"/>
          <ac:grpSpMkLst>
            <pc:docMk/>
            <pc:sldMk cId="158324435" sldId="2145708776"/>
            <ac:grpSpMk id="22" creationId="{BF92B299-038F-4FA0-BE69-923FB2581CFF}"/>
          </ac:grpSpMkLst>
        </pc:grpChg>
        <pc:grpChg chg="add del mod">
          <ac:chgData name="Ines Campos Gamez" userId="74513633-b57a-4148-a6c5-5fcdaa6c2d51" providerId="ADAL" clId="{2A7DFED5-8C36-40FA-A966-407E5A432157}" dt="2022-12-22T12:24:58.222" v="11"/>
          <ac:grpSpMkLst>
            <pc:docMk/>
            <pc:sldMk cId="158324435" sldId="2145708776"/>
            <ac:grpSpMk id="39" creationId="{E872FB46-C67D-4D9E-83A6-11223EA096D5}"/>
          </ac:grpSpMkLst>
        </pc:grpChg>
        <pc:grpChg chg="mod">
          <ac:chgData name="Ines Campos Gamez" userId="74513633-b57a-4148-a6c5-5fcdaa6c2d51" providerId="ADAL" clId="{2A7DFED5-8C36-40FA-A966-407E5A432157}" dt="2022-12-22T12:24:56.615" v="10"/>
          <ac:grpSpMkLst>
            <pc:docMk/>
            <pc:sldMk cId="158324435" sldId="2145708776"/>
            <ac:grpSpMk id="41" creationId="{A48625F8-2493-43CC-9075-CF01BABF5C6C}"/>
          </ac:grpSpMkLst>
        </pc:grpChg>
        <pc:grpChg chg="add del mod">
          <ac:chgData name="Ines Campos Gamez" userId="74513633-b57a-4148-a6c5-5fcdaa6c2d51" providerId="ADAL" clId="{2A7DFED5-8C36-40FA-A966-407E5A432157}" dt="2022-12-22T12:26:26.483" v="132" actId="165"/>
          <ac:grpSpMkLst>
            <pc:docMk/>
            <pc:sldMk cId="158324435" sldId="2145708776"/>
            <ac:grpSpMk id="62" creationId="{CFF564C7-B7C3-4BD5-8C2E-6B21A7D73CB4}"/>
          </ac:grpSpMkLst>
        </pc:grpChg>
        <pc:grpChg chg="mod topLvl">
          <ac:chgData name="Ines Campos Gamez" userId="74513633-b57a-4148-a6c5-5fcdaa6c2d51" providerId="ADAL" clId="{2A7DFED5-8C36-40FA-A966-407E5A432157}" dt="2022-12-22T12:26:29.046" v="133" actId="164"/>
          <ac:grpSpMkLst>
            <pc:docMk/>
            <pc:sldMk cId="158324435" sldId="2145708776"/>
            <ac:grpSpMk id="64" creationId="{AB2D60AC-6DC3-4FB2-A167-CAA33A91255F}"/>
          </ac:grpSpMkLst>
        </pc:grpChg>
        <pc:grpChg chg="add del mod">
          <ac:chgData name="Ines Campos Gamez" userId="74513633-b57a-4148-a6c5-5fcdaa6c2d51" providerId="ADAL" clId="{2A7DFED5-8C36-40FA-A966-407E5A432157}" dt="2022-12-22T12:25:58.353" v="87"/>
          <ac:grpSpMkLst>
            <pc:docMk/>
            <pc:sldMk cId="158324435" sldId="2145708776"/>
            <ac:grpSpMk id="85" creationId="{4DC79CA7-E440-4C2B-93EF-A216C454C4FE}"/>
          </ac:grpSpMkLst>
        </pc:grpChg>
        <pc:grpChg chg="mod">
          <ac:chgData name="Ines Campos Gamez" userId="74513633-b57a-4148-a6c5-5fcdaa6c2d51" providerId="ADAL" clId="{2A7DFED5-8C36-40FA-A966-407E5A432157}" dt="2022-12-22T12:25:56.619" v="86"/>
          <ac:grpSpMkLst>
            <pc:docMk/>
            <pc:sldMk cId="158324435" sldId="2145708776"/>
            <ac:grpSpMk id="87" creationId="{1996E647-EC92-4E72-9F51-FC4A7F5BC15B}"/>
          </ac:grpSpMkLst>
        </pc:grpChg>
        <pc:grpChg chg="add mod">
          <ac:chgData name="Ines Campos Gamez" userId="74513633-b57a-4148-a6c5-5fcdaa6c2d51" providerId="ADAL" clId="{2A7DFED5-8C36-40FA-A966-407E5A432157}" dt="2022-12-22T12:26:42.628" v="140" actId="164"/>
          <ac:grpSpMkLst>
            <pc:docMk/>
            <pc:sldMk cId="158324435" sldId="2145708776"/>
            <ac:grpSpMk id="105" creationId="{20C808DA-001D-4E21-A253-5873F18F31D9}"/>
          </ac:grpSpMkLst>
        </pc:grpChg>
        <pc:grpChg chg="add mod ord">
          <ac:chgData name="Ines Campos Gamez" userId="74513633-b57a-4148-a6c5-5fcdaa6c2d51" providerId="ADAL" clId="{2A7DFED5-8C36-40FA-A966-407E5A432157}" dt="2022-12-22T13:18:08.133" v="412"/>
          <ac:grpSpMkLst>
            <pc:docMk/>
            <pc:sldMk cId="158324435" sldId="2145708776"/>
            <ac:grpSpMk id="106" creationId="{82A7BFA5-C219-416F-8019-58B785FEBA4C}"/>
          </ac:grpSpMkLst>
        </pc:grpChg>
        <pc:grpChg chg="add mod ord">
          <ac:chgData name="Ines Campos Gamez" userId="74513633-b57a-4148-a6c5-5fcdaa6c2d51" providerId="ADAL" clId="{2A7DFED5-8C36-40FA-A966-407E5A432157}" dt="2022-12-22T13:18:08.133" v="414"/>
          <ac:grpSpMkLst>
            <pc:docMk/>
            <pc:sldMk cId="158324435" sldId="2145708776"/>
            <ac:grpSpMk id="107" creationId="{82CADE7C-410F-455D-8428-6C80FCA7EC65}"/>
          </ac:grpSpMkLst>
        </pc:grpChg>
        <pc:grpChg chg="add mod ord">
          <ac:chgData name="Ines Campos Gamez" userId="74513633-b57a-4148-a6c5-5fcdaa6c2d51" providerId="ADAL" clId="{2A7DFED5-8C36-40FA-A966-407E5A432157}" dt="2022-12-22T13:18:08.136" v="416"/>
          <ac:grpSpMkLst>
            <pc:docMk/>
            <pc:sldMk cId="158324435" sldId="2145708776"/>
            <ac:grpSpMk id="110" creationId="{8773F567-00A8-4E5B-B50B-B3FBAD1AECB9}"/>
          </ac:grpSpMkLst>
        </pc:grpChg>
        <pc:grpChg chg="add mod ord">
          <ac:chgData name="Ines Campos Gamez" userId="74513633-b57a-4148-a6c5-5fcdaa6c2d51" providerId="ADAL" clId="{2A7DFED5-8C36-40FA-A966-407E5A432157}" dt="2022-12-22T13:18:08.137" v="418"/>
          <ac:grpSpMkLst>
            <pc:docMk/>
            <pc:sldMk cId="158324435" sldId="2145708776"/>
            <ac:grpSpMk id="113" creationId="{7E58383B-B250-463A-BC83-604C9C31C7DF}"/>
          </ac:grpSpMkLst>
        </pc:grpChg>
        <pc:grpChg chg="add mod ord">
          <ac:chgData name="Ines Campos Gamez" userId="74513633-b57a-4148-a6c5-5fcdaa6c2d51" providerId="ADAL" clId="{2A7DFED5-8C36-40FA-A966-407E5A432157}" dt="2022-12-22T13:18:08.137" v="420"/>
          <ac:grpSpMkLst>
            <pc:docMk/>
            <pc:sldMk cId="158324435" sldId="2145708776"/>
            <ac:grpSpMk id="116" creationId="{371E663D-388C-4D8A-B6E7-148098F70320}"/>
          </ac:grpSpMkLst>
        </pc:grpChg>
        <pc:grpChg chg="add del mod">
          <ac:chgData name="Ines Campos Gamez" userId="74513633-b57a-4148-a6c5-5fcdaa6c2d51" providerId="ADAL" clId="{2A7DFED5-8C36-40FA-A966-407E5A432157}" dt="2022-12-22T13:17:43.219" v="396" actId="478"/>
          <ac:grpSpMkLst>
            <pc:docMk/>
            <pc:sldMk cId="158324435" sldId="2145708776"/>
            <ac:grpSpMk id="129" creationId="{1EC345C1-9A7D-489F-9A54-B6F950A77336}"/>
          </ac:grpSpMkLst>
        </pc:grpChg>
        <pc:grpChg chg="add mod">
          <ac:chgData name="Ines Campos Gamez" userId="74513633-b57a-4148-a6c5-5fcdaa6c2d51" providerId="ADAL" clId="{2A7DFED5-8C36-40FA-A966-407E5A432157}" dt="2022-12-22T13:18:26.250" v="441" actId="164"/>
          <ac:grpSpMkLst>
            <pc:docMk/>
            <pc:sldMk cId="158324435" sldId="2145708776"/>
            <ac:grpSpMk id="132" creationId="{0FE333E6-CA53-4DB6-84A3-3A6A8CB84E9B}"/>
          </ac:grpSpMkLst>
        </pc:grpChg>
        <pc:graphicFrameChg chg="add mod ord modVis replST delST">
          <ac:chgData name="Ines Campos Gamez" userId="74513633-b57a-4148-a6c5-5fcdaa6c2d51" providerId="ADAL" clId="{2A7DFED5-8C36-40FA-A966-407E5A432157}" dt="2022-12-22T12:26:21.095" v="129" actId="14100"/>
          <ac:graphicFrameMkLst>
            <pc:docMk/>
            <pc:sldMk cId="158324435" sldId="2145708776"/>
            <ac:graphicFrameMk id="104" creationId="{4A8E8BE9-F225-424A-BA04-425E6B26966A}"/>
          </ac:graphicFrameMkLst>
        </pc:graphicFrameChg>
        <pc:graphicFrameChg chg="add mod ord modVis replST">
          <ac:chgData name="Ines Campos Gamez" userId="74513633-b57a-4148-a6c5-5fcdaa6c2d51" providerId="ADAL" clId="{2A7DFED5-8C36-40FA-A966-407E5A432157}" dt="2022-12-22T13:18:08.170" v="437"/>
          <ac:graphicFrameMkLst>
            <pc:docMk/>
            <pc:sldMk cId="158324435" sldId="2145708776"/>
            <ac:graphicFrameMk id="122" creationId="{AE2CA59D-7605-4475-A57F-B15B9CB887A9}"/>
          </ac:graphicFrameMkLst>
        </pc:graphicFrameChg>
        <pc:picChg chg="mod">
          <ac:chgData name="Ines Campos Gamez" userId="74513633-b57a-4148-a6c5-5fcdaa6c2d51" providerId="ADAL" clId="{2A7DFED5-8C36-40FA-A966-407E5A432157}" dt="2022-12-22T12:26:57.784" v="142"/>
          <ac:picMkLst>
            <pc:docMk/>
            <pc:sldMk cId="158324435" sldId="2145708776"/>
            <ac:picMk id="108" creationId="{8DB5A6B5-095F-4D7C-8F65-B90D35AEA503}"/>
          </ac:picMkLst>
        </pc:picChg>
        <pc:picChg chg="mod">
          <ac:chgData name="Ines Campos Gamez" userId="74513633-b57a-4148-a6c5-5fcdaa6c2d51" providerId="ADAL" clId="{2A7DFED5-8C36-40FA-A966-407E5A432157}" dt="2022-12-22T12:27:08.548" v="144"/>
          <ac:picMkLst>
            <pc:docMk/>
            <pc:sldMk cId="158324435" sldId="2145708776"/>
            <ac:picMk id="111" creationId="{3A276A86-A9F6-47C6-A380-F47CAB351E48}"/>
          </ac:picMkLst>
        </pc:picChg>
        <pc:picChg chg="mod">
          <ac:chgData name="Ines Campos Gamez" userId="74513633-b57a-4148-a6c5-5fcdaa6c2d51" providerId="ADAL" clId="{2A7DFED5-8C36-40FA-A966-407E5A432157}" dt="2022-12-22T12:27:17.832" v="146"/>
          <ac:picMkLst>
            <pc:docMk/>
            <pc:sldMk cId="158324435" sldId="2145708776"/>
            <ac:picMk id="114" creationId="{AF073E10-62AC-463A-86A4-D50F45B3E19D}"/>
          </ac:picMkLst>
        </pc:picChg>
        <pc:picChg chg="mod">
          <ac:chgData name="Ines Campos Gamez" userId="74513633-b57a-4148-a6c5-5fcdaa6c2d51" providerId="ADAL" clId="{2A7DFED5-8C36-40FA-A966-407E5A432157}" dt="2022-12-22T12:27:26.850" v="148"/>
          <ac:picMkLst>
            <pc:docMk/>
            <pc:sldMk cId="158324435" sldId="2145708776"/>
            <ac:picMk id="117" creationId="{0590BC3A-1A9A-4A06-82A6-88AB86685419}"/>
          </ac:picMkLst>
        </pc:picChg>
        <pc:picChg chg="add del mod topLvl">
          <ac:chgData name="Ines Campos Gamez" userId="74513633-b57a-4148-a6c5-5fcdaa6c2d51" providerId="ADAL" clId="{2A7DFED5-8C36-40FA-A966-407E5A432157}" dt="2022-12-22T13:17:43.219" v="396" actId="478"/>
          <ac:picMkLst>
            <pc:docMk/>
            <pc:sldMk cId="158324435" sldId="2145708776"/>
            <ac:picMk id="120" creationId="{AA83E15C-44A5-45ED-9318-F96E09D61A6C}"/>
          </ac:picMkLst>
        </pc:picChg>
        <pc:picChg chg="add mod ord">
          <ac:chgData name="Ines Campos Gamez" userId="74513633-b57a-4148-a6c5-5fcdaa6c2d51" providerId="ADAL" clId="{2A7DFED5-8C36-40FA-A966-407E5A432157}" dt="2022-12-22T13:18:26.250" v="441" actId="164"/>
          <ac:picMkLst>
            <pc:docMk/>
            <pc:sldMk cId="158324435" sldId="2145708776"/>
            <ac:picMk id="131" creationId="{1FD13661-518A-4066-B3D5-F881BB8D80C8}"/>
          </ac:picMkLst>
        </pc:picChg>
        <pc:cxnChg chg="mod">
          <ac:chgData name="Ines Campos Gamez" userId="74513633-b57a-4148-a6c5-5fcdaa6c2d51" providerId="ADAL" clId="{2A7DFED5-8C36-40FA-A966-407E5A432157}" dt="2022-12-22T12:24:20.323" v="6"/>
          <ac:cxnSpMkLst>
            <pc:docMk/>
            <pc:sldMk cId="158324435" sldId="2145708776"/>
            <ac:cxnSpMk id="10" creationId="{B30DCB8C-D675-4B09-AF81-58EB6A230A68}"/>
          </ac:cxnSpMkLst>
        </pc:cxnChg>
        <pc:cxnChg chg="mod">
          <ac:chgData name="Ines Campos Gamez" userId="74513633-b57a-4148-a6c5-5fcdaa6c2d51" providerId="ADAL" clId="{2A7DFED5-8C36-40FA-A966-407E5A432157}" dt="2022-12-22T12:24:20.323" v="6"/>
          <ac:cxnSpMkLst>
            <pc:docMk/>
            <pc:sldMk cId="158324435" sldId="2145708776"/>
            <ac:cxnSpMk id="11" creationId="{E6DF87AE-1B89-46A0-8F2A-6653E9DA8EA1}"/>
          </ac:cxnSpMkLst>
        </pc:cxnChg>
        <pc:cxnChg chg="mod">
          <ac:chgData name="Ines Campos Gamez" userId="74513633-b57a-4148-a6c5-5fcdaa6c2d51" providerId="ADAL" clId="{2A7DFED5-8C36-40FA-A966-407E5A432157}" dt="2022-12-22T12:24:20.323" v="6"/>
          <ac:cxnSpMkLst>
            <pc:docMk/>
            <pc:sldMk cId="158324435" sldId="2145708776"/>
            <ac:cxnSpMk id="12" creationId="{76A33F18-338C-4AA7-A6FC-D24B0AEF4610}"/>
          </ac:cxnSpMkLst>
        </pc:cxnChg>
        <pc:cxnChg chg="mod">
          <ac:chgData name="Ines Campos Gamez" userId="74513633-b57a-4148-a6c5-5fcdaa6c2d51" providerId="ADAL" clId="{2A7DFED5-8C36-40FA-A966-407E5A432157}" dt="2022-12-22T12:24:20.323" v="6"/>
          <ac:cxnSpMkLst>
            <pc:docMk/>
            <pc:sldMk cId="158324435" sldId="2145708776"/>
            <ac:cxnSpMk id="13" creationId="{214D26FB-771F-4086-A1DD-7EA39E03A563}"/>
          </ac:cxnSpMkLst>
        </pc:cxnChg>
        <pc:cxnChg chg="mod">
          <ac:chgData name="Ines Campos Gamez" userId="74513633-b57a-4148-a6c5-5fcdaa6c2d51" providerId="ADAL" clId="{2A7DFED5-8C36-40FA-A966-407E5A432157}" dt="2022-12-22T12:24:20.323" v="6"/>
          <ac:cxnSpMkLst>
            <pc:docMk/>
            <pc:sldMk cId="158324435" sldId="2145708776"/>
            <ac:cxnSpMk id="14" creationId="{4A462774-C644-4C3D-9B2C-56108233ED27}"/>
          </ac:cxnSpMkLst>
        </pc:cxnChg>
        <pc:cxnChg chg="mod">
          <ac:chgData name="Ines Campos Gamez" userId="74513633-b57a-4148-a6c5-5fcdaa6c2d51" providerId="ADAL" clId="{2A7DFED5-8C36-40FA-A966-407E5A432157}" dt="2022-12-22T12:24:43.442" v="9" actId="478"/>
          <ac:cxnSpMkLst>
            <pc:docMk/>
            <pc:sldMk cId="158324435" sldId="2145708776"/>
            <ac:cxnSpMk id="24" creationId="{DDEFD353-ADE3-4FA5-9DF7-E0C51EB74FF2}"/>
          </ac:cxnSpMkLst>
        </pc:cxnChg>
        <pc:cxnChg chg="mod">
          <ac:chgData name="Ines Campos Gamez" userId="74513633-b57a-4148-a6c5-5fcdaa6c2d51" providerId="ADAL" clId="{2A7DFED5-8C36-40FA-A966-407E5A432157}" dt="2022-12-22T12:24:24.811" v="8"/>
          <ac:cxnSpMkLst>
            <pc:docMk/>
            <pc:sldMk cId="158324435" sldId="2145708776"/>
            <ac:cxnSpMk id="25" creationId="{16EA05DC-3B18-4573-9843-5C37703B5B00}"/>
          </ac:cxnSpMkLst>
        </pc:cxnChg>
        <pc:cxnChg chg="mod">
          <ac:chgData name="Ines Campos Gamez" userId="74513633-b57a-4148-a6c5-5fcdaa6c2d51" providerId="ADAL" clId="{2A7DFED5-8C36-40FA-A966-407E5A432157}" dt="2022-12-22T12:24:24.811" v="8"/>
          <ac:cxnSpMkLst>
            <pc:docMk/>
            <pc:sldMk cId="158324435" sldId="2145708776"/>
            <ac:cxnSpMk id="26" creationId="{2528539A-9EC5-4E53-B83E-B75112557EBB}"/>
          </ac:cxnSpMkLst>
        </pc:cxnChg>
        <pc:cxnChg chg="mod">
          <ac:chgData name="Ines Campos Gamez" userId="74513633-b57a-4148-a6c5-5fcdaa6c2d51" providerId="ADAL" clId="{2A7DFED5-8C36-40FA-A966-407E5A432157}" dt="2022-12-22T12:24:24.811" v="8"/>
          <ac:cxnSpMkLst>
            <pc:docMk/>
            <pc:sldMk cId="158324435" sldId="2145708776"/>
            <ac:cxnSpMk id="27" creationId="{432BDF7C-3916-4E0C-A3D6-CF6FDFD64706}"/>
          </ac:cxnSpMkLst>
        </pc:cxnChg>
        <pc:cxnChg chg="mod">
          <ac:chgData name="Ines Campos Gamez" userId="74513633-b57a-4148-a6c5-5fcdaa6c2d51" providerId="ADAL" clId="{2A7DFED5-8C36-40FA-A966-407E5A432157}" dt="2022-12-22T12:24:24.811" v="8"/>
          <ac:cxnSpMkLst>
            <pc:docMk/>
            <pc:sldMk cId="158324435" sldId="2145708776"/>
            <ac:cxnSpMk id="28" creationId="{9BBAD906-8106-4BA8-8687-C1C726201558}"/>
          </ac:cxnSpMkLst>
        </pc:cxnChg>
        <pc:cxnChg chg="mod">
          <ac:chgData name="Ines Campos Gamez" userId="74513633-b57a-4148-a6c5-5fcdaa6c2d51" providerId="ADAL" clId="{2A7DFED5-8C36-40FA-A966-407E5A432157}" dt="2022-12-22T12:24:56.615" v="10"/>
          <ac:cxnSpMkLst>
            <pc:docMk/>
            <pc:sldMk cId="158324435" sldId="2145708776"/>
            <ac:cxnSpMk id="43" creationId="{A5944233-9C7B-44FC-A551-B8B554FE2C1B}"/>
          </ac:cxnSpMkLst>
        </pc:cxnChg>
        <pc:cxnChg chg="mod">
          <ac:chgData name="Ines Campos Gamez" userId="74513633-b57a-4148-a6c5-5fcdaa6c2d51" providerId="ADAL" clId="{2A7DFED5-8C36-40FA-A966-407E5A432157}" dt="2022-12-22T12:24:56.615" v="10"/>
          <ac:cxnSpMkLst>
            <pc:docMk/>
            <pc:sldMk cId="158324435" sldId="2145708776"/>
            <ac:cxnSpMk id="44" creationId="{C2E075B7-C00E-4F30-A99B-1234697EB523}"/>
          </ac:cxnSpMkLst>
        </pc:cxnChg>
        <pc:cxnChg chg="mod">
          <ac:chgData name="Ines Campos Gamez" userId="74513633-b57a-4148-a6c5-5fcdaa6c2d51" providerId="ADAL" clId="{2A7DFED5-8C36-40FA-A966-407E5A432157}" dt="2022-12-22T12:24:56.615" v="10"/>
          <ac:cxnSpMkLst>
            <pc:docMk/>
            <pc:sldMk cId="158324435" sldId="2145708776"/>
            <ac:cxnSpMk id="45" creationId="{D7ECF55B-78CF-4A69-9C2E-236ABAC1EDA4}"/>
          </ac:cxnSpMkLst>
        </pc:cxnChg>
        <pc:cxnChg chg="mod">
          <ac:chgData name="Ines Campos Gamez" userId="74513633-b57a-4148-a6c5-5fcdaa6c2d51" providerId="ADAL" clId="{2A7DFED5-8C36-40FA-A966-407E5A432157}" dt="2022-12-22T12:24:56.615" v="10"/>
          <ac:cxnSpMkLst>
            <pc:docMk/>
            <pc:sldMk cId="158324435" sldId="2145708776"/>
            <ac:cxnSpMk id="46" creationId="{F3B3689C-1843-4CDD-83E1-B6D9346C0950}"/>
          </ac:cxnSpMkLst>
        </pc:cxnChg>
        <pc:cxnChg chg="mod">
          <ac:chgData name="Ines Campos Gamez" userId="74513633-b57a-4148-a6c5-5fcdaa6c2d51" providerId="ADAL" clId="{2A7DFED5-8C36-40FA-A966-407E5A432157}" dt="2022-12-22T12:24:56.615" v="10"/>
          <ac:cxnSpMkLst>
            <pc:docMk/>
            <pc:sldMk cId="158324435" sldId="2145708776"/>
            <ac:cxnSpMk id="47" creationId="{08060C97-DB83-4E6C-BB42-CE3BF892C674}"/>
          </ac:cxnSpMkLst>
        </pc:cxnChg>
        <pc:cxnChg chg="mod topLvl">
          <ac:chgData name="Ines Campos Gamez" userId="74513633-b57a-4148-a6c5-5fcdaa6c2d51" providerId="ADAL" clId="{2A7DFED5-8C36-40FA-A966-407E5A432157}" dt="2022-12-22T12:26:29.046" v="133" actId="164"/>
          <ac:cxnSpMkLst>
            <pc:docMk/>
            <pc:sldMk cId="158324435" sldId="2145708776"/>
            <ac:cxnSpMk id="66" creationId="{96B1D393-0217-463C-9954-22D57F283B48}"/>
          </ac:cxnSpMkLst>
        </pc:cxnChg>
        <pc:cxnChg chg="mod topLvl">
          <ac:chgData name="Ines Campos Gamez" userId="74513633-b57a-4148-a6c5-5fcdaa6c2d51" providerId="ADAL" clId="{2A7DFED5-8C36-40FA-A966-407E5A432157}" dt="2022-12-22T12:26:29.046" v="133" actId="164"/>
          <ac:cxnSpMkLst>
            <pc:docMk/>
            <pc:sldMk cId="158324435" sldId="2145708776"/>
            <ac:cxnSpMk id="67" creationId="{88837430-2D28-4236-B803-4396D6F54BCF}"/>
          </ac:cxnSpMkLst>
        </pc:cxnChg>
        <pc:cxnChg chg="mod topLvl">
          <ac:chgData name="Ines Campos Gamez" userId="74513633-b57a-4148-a6c5-5fcdaa6c2d51" providerId="ADAL" clId="{2A7DFED5-8C36-40FA-A966-407E5A432157}" dt="2022-12-22T12:26:29.046" v="133" actId="164"/>
          <ac:cxnSpMkLst>
            <pc:docMk/>
            <pc:sldMk cId="158324435" sldId="2145708776"/>
            <ac:cxnSpMk id="68" creationId="{E14498D1-1FA0-4345-89B1-C971A0B4887B}"/>
          </ac:cxnSpMkLst>
        </pc:cxnChg>
        <pc:cxnChg chg="mod topLvl">
          <ac:chgData name="Ines Campos Gamez" userId="74513633-b57a-4148-a6c5-5fcdaa6c2d51" providerId="ADAL" clId="{2A7DFED5-8C36-40FA-A966-407E5A432157}" dt="2022-12-22T12:26:29.046" v="133" actId="164"/>
          <ac:cxnSpMkLst>
            <pc:docMk/>
            <pc:sldMk cId="158324435" sldId="2145708776"/>
            <ac:cxnSpMk id="69" creationId="{6DAB3287-4B30-4E16-B2F2-A2D2BBD446D1}"/>
          </ac:cxnSpMkLst>
        </pc:cxnChg>
        <pc:cxnChg chg="mod topLvl">
          <ac:chgData name="Ines Campos Gamez" userId="74513633-b57a-4148-a6c5-5fcdaa6c2d51" providerId="ADAL" clId="{2A7DFED5-8C36-40FA-A966-407E5A432157}" dt="2022-12-22T12:26:29.046" v="133" actId="164"/>
          <ac:cxnSpMkLst>
            <pc:docMk/>
            <pc:sldMk cId="158324435" sldId="2145708776"/>
            <ac:cxnSpMk id="70" creationId="{D72CFE49-B1AA-4AB7-AA9F-C1F2D7131D04}"/>
          </ac:cxnSpMkLst>
        </pc:cxnChg>
        <pc:cxnChg chg="mod">
          <ac:chgData name="Ines Campos Gamez" userId="74513633-b57a-4148-a6c5-5fcdaa6c2d51" providerId="ADAL" clId="{2A7DFED5-8C36-40FA-A966-407E5A432157}" dt="2022-12-22T12:25:56.619" v="86"/>
          <ac:cxnSpMkLst>
            <pc:docMk/>
            <pc:sldMk cId="158324435" sldId="2145708776"/>
            <ac:cxnSpMk id="89" creationId="{66B404DF-5517-497B-9F8F-4823544CFF8E}"/>
          </ac:cxnSpMkLst>
        </pc:cxnChg>
        <pc:cxnChg chg="mod">
          <ac:chgData name="Ines Campos Gamez" userId="74513633-b57a-4148-a6c5-5fcdaa6c2d51" providerId="ADAL" clId="{2A7DFED5-8C36-40FA-A966-407E5A432157}" dt="2022-12-22T12:25:56.619" v="86"/>
          <ac:cxnSpMkLst>
            <pc:docMk/>
            <pc:sldMk cId="158324435" sldId="2145708776"/>
            <ac:cxnSpMk id="90" creationId="{325708E4-D6CF-4284-AA7B-3EF80BA60999}"/>
          </ac:cxnSpMkLst>
        </pc:cxnChg>
        <pc:cxnChg chg="mod">
          <ac:chgData name="Ines Campos Gamez" userId="74513633-b57a-4148-a6c5-5fcdaa6c2d51" providerId="ADAL" clId="{2A7DFED5-8C36-40FA-A966-407E5A432157}" dt="2022-12-22T12:25:56.619" v="86"/>
          <ac:cxnSpMkLst>
            <pc:docMk/>
            <pc:sldMk cId="158324435" sldId="2145708776"/>
            <ac:cxnSpMk id="91" creationId="{0B66566A-5731-463A-9329-0308231B39DA}"/>
          </ac:cxnSpMkLst>
        </pc:cxnChg>
        <pc:cxnChg chg="mod">
          <ac:chgData name="Ines Campos Gamez" userId="74513633-b57a-4148-a6c5-5fcdaa6c2d51" providerId="ADAL" clId="{2A7DFED5-8C36-40FA-A966-407E5A432157}" dt="2022-12-22T12:25:56.619" v="86"/>
          <ac:cxnSpMkLst>
            <pc:docMk/>
            <pc:sldMk cId="158324435" sldId="2145708776"/>
            <ac:cxnSpMk id="92" creationId="{E5B36A81-FB6C-490E-9347-6C7A1A5E0D3A}"/>
          </ac:cxnSpMkLst>
        </pc:cxnChg>
        <pc:cxnChg chg="mod">
          <ac:chgData name="Ines Campos Gamez" userId="74513633-b57a-4148-a6c5-5fcdaa6c2d51" providerId="ADAL" clId="{2A7DFED5-8C36-40FA-A966-407E5A432157}" dt="2022-12-22T12:25:56.619" v="86"/>
          <ac:cxnSpMkLst>
            <pc:docMk/>
            <pc:sldMk cId="158324435" sldId="2145708776"/>
            <ac:cxnSpMk id="93" creationId="{ABAF2A4F-77AB-4388-ABB8-64E578A93411}"/>
          </ac:cxnSpMkLst>
        </pc:cxnChg>
      </pc:sldChg>
      <pc:sldChg chg="add del">
        <pc:chgData name="Ines Campos Gamez" userId="74513633-b57a-4148-a6c5-5fcdaa6c2d51" providerId="ADAL" clId="{2A7DFED5-8C36-40FA-A966-407E5A432157}" dt="2022-12-22T12:31:33.118" v="215" actId="47"/>
        <pc:sldMkLst>
          <pc:docMk/>
          <pc:sldMk cId="2379395852" sldId="2145708777"/>
        </pc:sldMkLst>
      </pc:sldChg>
      <pc:sldChg chg="modSp add mod ord">
        <pc:chgData name="Ines Campos Gamez" userId="74513633-b57a-4148-a6c5-5fcdaa6c2d51" providerId="ADAL" clId="{2A7DFED5-8C36-40FA-A966-407E5A432157}" dt="2022-12-22T12:41:03.181" v="303" actId="207"/>
        <pc:sldMkLst>
          <pc:docMk/>
          <pc:sldMk cId="3378970651" sldId="2145708777"/>
        </pc:sldMkLst>
        <pc:spChg chg="mod">
          <ac:chgData name="Ines Campos Gamez" userId="74513633-b57a-4148-a6c5-5fcdaa6c2d51" providerId="ADAL" clId="{2A7DFED5-8C36-40FA-A966-407E5A432157}" dt="2022-12-22T12:40:59.579" v="302" actId="207"/>
          <ac:spMkLst>
            <pc:docMk/>
            <pc:sldMk cId="3378970651" sldId="2145708777"/>
            <ac:spMk id="12" creationId="{7B7ACDF1-255D-4DCC-A589-D1F135432D6E}"/>
          </ac:spMkLst>
        </pc:spChg>
        <pc:spChg chg="mod">
          <ac:chgData name="Ines Campos Gamez" userId="74513633-b57a-4148-a6c5-5fcdaa6c2d51" providerId="ADAL" clId="{2A7DFED5-8C36-40FA-A966-407E5A432157}" dt="2022-12-22T12:41:03.181" v="303" actId="207"/>
          <ac:spMkLst>
            <pc:docMk/>
            <pc:sldMk cId="3378970651" sldId="2145708777"/>
            <ac:spMk id="13" creationId="{D9B14C04-4059-4E5D-A5F6-1CCCBA6E5C16}"/>
          </ac:spMkLst>
        </pc:spChg>
        <pc:spChg chg="mod">
          <ac:chgData name="Ines Campos Gamez" userId="74513633-b57a-4148-a6c5-5fcdaa6c2d51" providerId="ADAL" clId="{2A7DFED5-8C36-40FA-A966-407E5A432157}" dt="2022-12-22T12:40:55.729" v="301" actId="207"/>
          <ac:spMkLst>
            <pc:docMk/>
            <pc:sldMk cId="3378970651" sldId="2145708777"/>
            <ac:spMk id="30" creationId="{B4C2BF7E-9BF1-4AC5-B9EC-414B84413EAD}"/>
          </ac:spMkLst>
        </pc:spChg>
        <pc:spChg chg="mod">
          <ac:chgData name="Ines Campos Gamez" userId="74513633-b57a-4148-a6c5-5fcdaa6c2d51" providerId="ADAL" clId="{2A7DFED5-8C36-40FA-A966-407E5A432157}" dt="2022-12-22T12:40:53.323" v="300" actId="207"/>
          <ac:spMkLst>
            <pc:docMk/>
            <pc:sldMk cId="3378970651" sldId="2145708777"/>
            <ac:spMk id="31" creationId="{00DA8AEE-89A6-45D7-87EC-1BE917E937CB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B57AF1-6C5B-4147-B314-6925BD753D11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2B6DB4-B623-4FA5-BE46-C498CD6966D2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959441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94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794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9952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wmf"/><Relationship Id="rId4" Type="http://schemas.openxmlformats.org/officeDocument/2006/relationships/image" Target="../media/image8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E215A7-3FB4-492D-A2DE-F11A712B12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C84E0A6-009A-478B-8F45-4B4A674851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85869F-21A7-4A00-8060-15D2ACA27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D47CC-474A-4474-90EF-8BBF485EDA28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F09DF6-5956-4AAA-BB5B-B7CC509E7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72639E-84DA-4F15-B5E2-3A4935BE4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3EF9B-837A-46AC-A6CA-C38F3126A551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853647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44E076-CFCA-46B9-B5FE-E18EAD4D6F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35098C0-1AF5-4997-8459-55BE25BF2C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C3A6FA-870F-4543-8DDC-A54315F83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D47CC-474A-4474-90EF-8BBF485EDA28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F92A01-5864-4BEE-99F8-302E25C0C1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01FFB8-6133-4C9C-B0BE-C4B8D5D7E8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3EF9B-837A-46AC-A6CA-C38F3126A551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111585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7CD2768-EE13-4DD0-B509-144D1824FC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7DEAE4-B93E-4783-9B02-2391473C31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64F7BD-6B0E-4662-8EF9-4C36C2E02C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D47CC-474A-4474-90EF-8BBF485EDA28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D8466C-E363-410C-9329-168C8AA94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83CF69-C1C7-4C7D-9820-4970E5755D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3EF9B-837A-46AC-A6CA-C38F3126A551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858609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9408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3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1" y="1954223"/>
            <a:ext cx="4326679" cy="979703"/>
          </a:xfrm>
        </p:spPr>
        <p:txBody>
          <a:bodyPr/>
          <a:lstStyle>
            <a:lvl1pPr>
              <a:defRPr sz="2997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1" y="3046160"/>
            <a:ext cx="4326679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1997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3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6" y="5605200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2" y="6019189"/>
            <a:ext cx="3087667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2" y="6216807"/>
            <a:ext cx="3087667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5" y="5914643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9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</p:grpSp>
    </p:spTree>
    <p:extLst>
      <p:ext uri="{BB962C8B-B14F-4D97-AF65-F5344CB8AC3E}">
        <p14:creationId xmlns:p14="http://schemas.microsoft.com/office/powerpoint/2010/main" val="2902822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3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1" y="1954223"/>
            <a:ext cx="4326679" cy="979703"/>
          </a:xfrm>
        </p:spPr>
        <p:txBody>
          <a:bodyPr/>
          <a:lstStyle>
            <a:lvl1pPr>
              <a:defRPr sz="2997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1" y="3046160"/>
            <a:ext cx="4326679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1997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3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6" y="5605200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744" y="6019189"/>
            <a:ext cx="3087667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744" y="6216807"/>
            <a:ext cx="3087667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9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</p:grpSp>
    </p:spTree>
    <p:extLst>
      <p:ext uri="{BB962C8B-B14F-4D97-AF65-F5344CB8AC3E}">
        <p14:creationId xmlns:p14="http://schemas.microsoft.com/office/powerpoint/2010/main" val="2559056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8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7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31"/>
            <a:ext cx="4805525" cy="64574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7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4" y="723659"/>
            <a:ext cx="5677988" cy="3452895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399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3" y="4021758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399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5" y="4021758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399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8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399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9"/>
            <a:ext cx="1224912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</p:grpSp>
    </p:spTree>
    <p:extLst>
      <p:ext uri="{BB962C8B-B14F-4D97-AF65-F5344CB8AC3E}">
        <p14:creationId xmlns:p14="http://schemas.microsoft.com/office/powerpoint/2010/main" val="21966911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8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9" y="2158329"/>
            <a:ext cx="3998353" cy="860400"/>
          </a:xfrm>
          <a:prstGeom prst="rect">
            <a:avLst/>
          </a:prstGeom>
        </p:spPr>
        <p:txBody>
          <a:bodyPr/>
          <a:lstStyle>
            <a:lvl1pPr>
              <a:defRPr sz="2997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1" y="3200331"/>
            <a:ext cx="4018535" cy="64574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7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2" y="876060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399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399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399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399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9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</p:grpSp>
    </p:spTree>
    <p:extLst>
      <p:ext uri="{BB962C8B-B14F-4D97-AF65-F5344CB8AC3E}">
        <p14:creationId xmlns:p14="http://schemas.microsoft.com/office/powerpoint/2010/main" val="2340043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1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28883" y="6316010"/>
            <a:ext cx="2353519" cy="179905"/>
          </a:xfrm>
        </p:spPr>
        <p:txBody>
          <a:bodyPr/>
          <a:lstStyle/>
          <a:p>
            <a:r>
              <a:rPr lang="en-IN" dirty="0"/>
              <a:t>202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9682" y="6495913"/>
            <a:ext cx="662721" cy="180000"/>
          </a:xfrm>
        </p:spPr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836487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1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379DE-9018-456D-8CC1-2A834694F3F1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32986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137921"/>
            <a:ext cx="7295843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216" indent="0">
              <a:buNone/>
              <a:defRPr sz="1799">
                <a:solidFill>
                  <a:schemeClr val="bg1"/>
                </a:solidFill>
              </a:defRPr>
            </a:lvl2pPr>
            <a:lvl3pPr marL="712436" indent="0">
              <a:buNone/>
              <a:defRPr sz="1599">
                <a:solidFill>
                  <a:schemeClr val="bg1"/>
                </a:solidFill>
              </a:defRPr>
            </a:lvl3pPr>
            <a:lvl4pPr marL="1068655" indent="0">
              <a:buNone/>
              <a:defRPr sz="1399">
                <a:solidFill>
                  <a:schemeClr val="bg1"/>
                </a:solidFill>
              </a:defRPr>
            </a:lvl4pPr>
            <a:lvl5pPr marL="1424871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2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216" indent="0">
              <a:buNone/>
              <a:defRPr sz="1799">
                <a:solidFill>
                  <a:schemeClr val="bg1"/>
                </a:solidFill>
              </a:defRPr>
            </a:lvl2pPr>
            <a:lvl3pPr marL="712436" indent="0">
              <a:buNone/>
              <a:defRPr sz="1599">
                <a:solidFill>
                  <a:schemeClr val="bg1"/>
                </a:solidFill>
              </a:defRPr>
            </a:lvl3pPr>
            <a:lvl4pPr marL="1068655" indent="0">
              <a:buNone/>
              <a:defRPr sz="1399">
                <a:solidFill>
                  <a:schemeClr val="bg1"/>
                </a:solidFill>
              </a:defRPr>
            </a:lvl4pPr>
            <a:lvl5pPr marL="1424871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3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216" indent="0">
              <a:buNone/>
              <a:defRPr sz="1799">
                <a:solidFill>
                  <a:schemeClr val="bg1"/>
                </a:solidFill>
              </a:defRPr>
            </a:lvl2pPr>
            <a:lvl3pPr marL="712436" indent="0">
              <a:buNone/>
              <a:defRPr sz="1599">
                <a:solidFill>
                  <a:schemeClr val="bg1"/>
                </a:solidFill>
              </a:defRPr>
            </a:lvl3pPr>
            <a:lvl4pPr marL="1068655" indent="0">
              <a:buNone/>
              <a:defRPr sz="1399">
                <a:solidFill>
                  <a:schemeClr val="bg1"/>
                </a:solidFill>
              </a:defRPr>
            </a:lvl4pPr>
            <a:lvl5pPr marL="1424871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216" indent="0">
              <a:buNone/>
              <a:defRPr sz="1799">
                <a:solidFill>
                  <a:schemeClr val="bg1"/>
                </a:solidFill>
              </a:defRPr>
            </a:lvl2pPr>
            <a:lvl3pPr marL="712436" indent="0">
              <a:buNone/>
              <a:defRPr sz="1599">
                <a:solidFill>
                  <a:schemeClr val="bg1"/>
                </a:solidFill>
              </a:defRPr>
            </a:lvl3pPr>
            <a:lvl4pPr marL="1068655" indent="0">
              <a:buNone/>
              <a:defRPr sz="1399">
                <a:solidFill>
                  <a:schemeClr val="bg1"/>
                </a:solidFill>
              </a:defRPr>
            </a:lvl4pPr>
            <a:lvl5pPr marL="1424871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1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124C4BF-40EF-4423-AC5A-CF0A4BF6331C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33055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C4E371-2C4B-40BB-9248-60F9FA7BD7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F27782-84A5-4A9E-9F53-9E4EA873FF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4367A9-471E-4BE9-A095-EE392E1003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D47CC-474A-4474-90EF-8BBF485EDA28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E98734-90EC-4030-BF25-A8D585CDB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0BB34A-C982-4EFD-ACF6-970E1AC52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3EF9B-837A-46AC-A6CA-C38F3126A551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707033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"/>
            <a:ext cx="2383219" cy="6857999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1" y="1137921"/>
            <a:ext cx="2741455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216" indent="0">
              <a:buNone/>
              <a:defRPr sz="1799">
                <a:solidFill>
                  <a:schemeClr val="bg1"/>
                </a:solidFill>
              </a:defRPr>
            </a:lvl2pPr>
            <a:lvl3pPr marL="712436" indent="0">
              <a:buNone/>
              <a:defRPr sz="1599">
                <a:solidFill>
                  <a:schemeClr val="bg1"/>
                </a:solidFill>
              </a:defRPr>
            </a:lvl3pPr>
            <a:lvl4pPr marL="1068655" indent="0">
              <a:buNone/>
              <a:defRPr sz="1399">
                <a:solidFill>
                  <a:schemeClr val="bg1"/>
                </a:solidFill>
              </a:defRPr>
            </a:lvl4pPr>
            <a:lvl5pPr marL="1424871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3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216" indent="0">
              <a:buNone/>
              <a:defRPr sz="1799">
                <a:solidFill>
                  <a:schemeClr val="bg1"/>
                </a:solidFill>
              </a:defRPr>
            </a:lvl2pPr>
            <a:lvl3pPr marL="712436" indent="0">
              <a:buNone/>
              <a:defRPr sz="1599">
                <a:solidFill>
                  <a:schemeClr val="bg1"/>
                </a:solidFill>
              </a:defRPr>
            </a:lvl3pPr>
            <a:lvl4pPr marL="1068655" indent="0">
              <a:buNone/>
              <a:defRPr sz="1399">
                <a:solidFill>
                  <a:schemeClr val="bg1"/>
                </a:solidFill>
              </a:defRPr>
            </a:lvl4pPr>
            <a:lvl5pPr marL="1424871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2" y="1137923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216" indent="0">
              <a:buNone/>
              <a:defRPr sz="1799">
                <a:solidFill>
                  <a:schemeClr val="bg1"/>
                </a:solidFill>
              </a:defRPr>
            </a:lvl2pPr>
            <a:lvl3pPr marL="712436" indent="0">
              <a:buNone/>
              <a:defRPr sz="1599">
                <a:solidFill>
                  <a:schemeClr val="bg1"/>
                </a:solidFill>
              </a:defRPr>
            </a:lvl3pPr>
            <a:lvl4pPr marL="1068655" indent="0">
              <a:buNone/>
              <a:defRPr sz="1399">
                <a:solidFill>
                  <a:schemeClr val="bg1"/>
                </a:solidFill>
              </a:defRPr>
            </a:lvl4pPr>
            <a:lvl5pPr marL="1424871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1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938A4E0-1DBC-428C-A148-40ABB557ED15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40343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3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1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4C1CF8-5492-4FFB-81A2-5916EDDB12A2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134091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9" y="2851523"/>
            <a:ext cx="4445484" cy="120231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7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216" marR="0" lvl="0" indent="-356216" defTabSz="1006761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B11E788-1757-4B42-93A2-B576096F4A01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359657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9" y="2851523"/>
            <a:ext cx="4445484" cy="120231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7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216" marR="0" lvl="0" indent="-356216" defTabSz="1006761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24D5EF2-148A-4FCF-BDEA-D1905419679C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03462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3" y="1488929"/>
            <a:ext cx="2337171" cy="858839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88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7" dirty="0" smtClean="0">
                <a:latin typeface="Georgia" panose="02040502050405020303" pitchFamily="18" charset="0"/>
              </a:defRPr>
            </a:lvl1pPr>
          </a:lstStyle>
          <a:p>
            <a:pPr marL="356216" lvl="0" indent="-3562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6"/>
            <a:ext cx="5289245" cy="316839"/>
          </a:xfrm>
        </p:spPr>
        <p:txBody>
          <a:bodyPr lIns="90000" tIns="46800" rIns="90000" bIns="46800"/>
          <a:lstStyle>
            <a:lvl1pPr marL="0" indent="0" algn="l" defTabSz="913378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216" indent="0">
              <a:buNone/>
              <a:defRPr lang="en-US" sz="1997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3"/>
            <a:ext cx="5289245" cy="316839"/>
          </a:xfrm>
        </p:spPr>
        <p:txBody>
          <a:bodyPr lIns="90000" tIns="46800" rIns="90000" bIns="46800"/>
          <a:lstStyle>
            <a:lvl1pPr marL="0" indent="0" algn="l" defTabSz="913378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216" indent="0">
              <a:buNone/>
              <a:defRPr lang="en-US" sz="1997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6982091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6"/>
            <a:ext cx="5289245" cy="3025523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7" dirty="0" smtClean="0">
                <a:latin typeface="Georgia" panose="02040502050405020303" pitchFamily="18" charset="0"/>
              </a:defRPr>
            </a:lvl1pPr>
          </a:lstStyle>
          <a:p>
            <a:pPr marL="356216" lvl="0" indent="-3562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9"/>
            <a:ext cx="5289245" cy="316839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216" lvl="0" indent="-3562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9"/>
            <a:ext cx="5289245" cy="31683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216" lvl="0" indent="-3562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90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88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089705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9" y="0"/>
            <a:ext cx="5968061" cy="6858000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4" y="2578743"/>
            <a:ext cx="4535597" cy="1055708"/>
          </a:xfrm>
        </p:spPr>
        <p:txBody>
          <a:bodyPr/>
          <a:lstStyle>
            <a:lvl1pPr marL="0" indent="0">
              <a:buNone/>
              <a:defRPr sz="2997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4" y="3840386"/>
            <a:ext cx="4535597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C910DC3-B6CD-4AA3-8B83-E9AC73FB058B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048822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2" y="1137922"/>
            <a:ext cx="4954924" cy="4267457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2" y="3578086"/>
            <a:ext cx="778553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3" y="1137923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3" y="1635009"/>
            <a:ext cx="5462580" cy="1611555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1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887BC41-9AE7-42ED-89B0-CC6574409BC6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296419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428184" y="6471244"/>
            <a:ext cx="1190637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8D11B88-F477-479A-A05C-7DFCF1036F2A}" type="datetime6">
              <a:rPr lang="es-ES" smtClean="0"/>
              <a:t>diciembre de 2022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6805F9C-AE33-484C-B4D0-CAEB9CD9CE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237502" y="6471244"/>
            <a:ext cx="3084493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804EB2-F7DB-4D56-A6D4-7706480DB2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616902" y="6471244"/>
            <a:ext cx="662721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280897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3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216">
              <a:defRPr>
                <a:solidFill>
                  <a:schemeClr val="bg1"/>
                </a:solidFill>
              </a:defRPr>
            </a:lvl2pPr>
            <a:lvl3pPr marL="712436">
              <a:defRPr>
                <a:solidFill>
                  <a:schemeClr val="bg1"/>
                </a:solidFill>
              </a:defRPr>
            </a:lvl3pPr>
            <a:lvl4pPr marL="1068655">
              <a:defRPr>
                <a:solidFill>
                  <a:schemeClr val="bg1"/>
                </a:solidFill>
              </a:defRPr>
            </a:lvl4pPr>
            <a:lvl5pPr marL="1424871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1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F149D-BA36-4624-BC2C-75C38D97E55F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777971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49AF49-92D1-4687-B32A-830A42741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24C257-1A18-49DE-BABB-D90213A950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2F5639-CA64-4C9D-AF00-2B867F0B6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D47CC-474A-4474-90EF-8BBF485EDA28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081586-0448-424E-802A-2B4A6CC88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09B058-53A5-4600-AA06-8135719F4B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3EF9B-837A-46AC-A6CA-C38F3126A551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544099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1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78272-CB13-4A5A-80D9-6A60D008BF61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818679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3" y="1137919"/>
            <a:ext cx="5384800" cy="4834800"/>
          </a:xfrm>
        </p:spPr>
        <p:txBody>
          <a:bodyPr/>
          <a:lstStyle>
            <a:lvl1pPr>
              <a:defRPr sz="1997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137919"/>
            <a:ext cx="5384800" cy="4834800"/>
          </a:xfrm>
        </p:spPr>
        <p:txBody>
          <a:bodyPr/>
          <a:lstStyle>
            <a:lvl1pPr>
              <a:defRPr sz="1997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1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0D12D-00B0-4821-8543-7DB311810B4A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58520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7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7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1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87E6402-BD9F-467C-A7B2-8EE2C2E8DF7D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643111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913DC-8EC0-423D-BC61-590162441F54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050447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38695-7460-412C-B015-B84954E79401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005232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A248-E2EE-4DAA-91F9-E20AD76FDA67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87460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F52DF-3581-40CA-B719-DADCB8C48D17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600697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12586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62A6354-73AF-4FDF-91B3-743239477977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250022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223874-3AD1-4756-B25E-8234DD371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41"/>
            <a:ext cx="4675200" cy="5210063"/>
          </a:xfrm>
        </p:spPr>
        <p:txBody>
          <a:bodyPr/>
          <a:lstStyle>
            <a:lvl1pPr marL="0" indent="0" algn="l" defTabSz="994251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25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016" indent="-176016" algn="l" defTabSz="99425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25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702" indent="-188702" algn="l" defTabSz="99425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0658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4D129-EE86-43CF-BE68-B81AB138A0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3569A2-6B00-44E4-B502-537D11D272D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4B5A7A-6F65-4C09-A617-08E82971B9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4DE864-87F5-4A6E-B284-4823F7061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D47CC-474A-4474-90EF-8BBF485EDA28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5C53EEF-9D87-41A5-9CA1-BD121AD234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9D9001-2A91-4325-B0C5-8F37A73F4B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3EF9B-837A-46AC-A6CA-C38F3126A551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793076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C94B4409-2B48-4C2E-B122-78CAC0F69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1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41"/>
            <a:ext cx="4675200" cy="5210063"/>
          </a:xfrm>
        </p:spPr>
        <p:txBody>
          <a:bodyPr/>
          <a:lstStyle>
            <a:lvl1pPr marL="0" indent="0" algn="l" defTabSz="994251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25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016" indent="-176016" algn="l" defTabSz="99425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25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702" indent="-188702" algn="l" defTabSz="99425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85937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12A84B0-F10A-4A02-AD57-E01F7676B6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8" y="0"/>
            <a:ext cx="12185659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41"/>
            <a:ext cx="4675200" cy="5210063"/>
          </a:xfrm>
        </p:spPr>
        <p:txBody>
          <a:bodyPr/>
          <a:lstStyle>
            <a:lvl1pPr marL="0" indent="0" algn="l" defTabSz="994251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25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016" indent="-176016" algn="l" defTabSz="99425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25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702" indent="-188702" algn="l" defTabSz="99425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36838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84870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3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1" y="1954223"/>
            <a:ext cx="4326679" cy="979703"/>
          </a:xfrm>
        </p:spPr>
        <p:txBody>
          <a:bodyPr/>
          <a:lstStyle>
            <a:lvl1pPr>
              <a:defRPr sz="2997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1" y="3046160"/>
            <a:ext cx="4326679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1997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9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</p:grpSp>
    </p:spTree>
    <p:extLst>
      <p:ext uri="{BB962C8B-B14F-4D97-AF65-F5344CB8AC3E}">
        <p14:creationId xmlns:p14="http://schemas.microsoft.com/office/powerpoint/2010/main" val="683937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1">
            <a:extLst>
              <a:ext uri="{FF2B5EF4-FFF2-40B4-BE49-F238E27FC236}">
                <a16:creationId xmlns:a16="http://schemas.microsoft.com/office/drawing/2014/main" id="{BEC2289D-73EA-411E-A621-2FFE8FCEEF40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7" y="0"/>
            <a:ext cx="12191745" cy="6858000"/>
          </a:xfrm>
          <a:prstGeom prst="rect">
            <a:avLst/>
          </a:prstGeom>
          <a:noFill/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51" y="1957419"/>
            <a:ext cx="5410557" cy="359564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51" y="5888738"/>
            <a:ext cx="3778032" cy="618751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1001827" y="2850191"/>
            <a:ext cx="4595007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1001827" y="4439631"/>
            <a:ext cx="4595007" cy="64574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7"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4102" y="5340096"/>
            <a:ext cx="987037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0867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9CB8844-82DE-4F39-8BF9-EC381E5C9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0ECB4718-6B01-4C37-9166-85809291EAE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1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D80C0F9B-E2C8-4051-B26B-E415514540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28184" y="6471244"/>
            <a:ext cx="1190637" cy="180000"/>
          </a:xfrm>
        </p:spPr>
        <p:txBody>
          <a:bodyPr/>
          <a:lstStyle/>
          <a:p>
            <a:fld id="{C294C5C6-D334-4ECC-9DEB-A868ACFFEA9D}" type="datetime6">
              <a:rPr lang="es-ES" smtClean="0"/>
              <a:t>diciembre de 2022</a:t>
            </a:fld>
            <a:endParaRPr lang="en-IN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3867A5D-02D5-43AA-BD26-72E3F3C809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7502" y="6471244"/>
            <a:ext cx="3084493" cy="180000"/>
          </a:xfrm>
        </p:spPr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0FA8F1F4-D495-4649-A1A5-F36B4D703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6902" y="6471244"/>
            <a:ext cx="662721" cy="180000"/>
          </a:xfrm>
        </p:spPr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85404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F8F15-A00B-4B64-9406-A7680A91C1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7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E39B78F-DE86-4A64-B909-B0EF465EDF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7"/>
            <a:ext cx="9144000" cy="1655763"/>
          </a:xfrm>
        </p:spPr>
        <p:txBody>
          <a:bodyPr/>
          <a:lstStyle>
            <a:lvl1pPr marL="0" indent="0" algn="ctr">
              <a:buNone/>
              <a:defRPr sz="2399"/>
            </a:lvl1pPr>
            <a:lvl2pPr marL="456934" indent="0" algn="ctr">
              <a:buNone/>
              <a:defRPr sz="1999"/>
            </a:lvl2pPr>
            <a:lvl3pPr marL="913866" indent="0" algn="ctr">
              <a:buNone/>
              <a:defRPr sz="1799"/>
            </a:lvl3pPr>
            <a:lvl4pPr marL="1370800" indent="0" algn="ctr">
              <a:buNone/>
              <a:defRPr sz="1599"/>
            </a:lvl4pPr>
            <a:lvl5pPr marL="1827733" indent="0" algn="ctr">
              <a:buNone/>
              <a:defRPr sz="1599"/>
            </a:lvl5pPr>
            <a:lvl6pPr marL="2284667" indent="0" algn="ctr">
              <a:buNone/>
              <a:defRPr sz="1599"/>
            </a:lvl6pPr>
            <a:lvl7pPr marL="2741599" indent="0" algn="ctr">
              <a:buNone/>
              <a:defRPr sz="1599"/>
            </a:lvl7pPr>
            <a:lvl8pPr marL="3198533" indent="0" algn="ctr">
              <a:buNone/>
              <a:defRPr sz="1599"/>
            </a:lvl8pPr>
            <a:lvl9pPr marL="3655467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0DF799-E8CF-4E55-810D-FA7CADF533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86A940-E350-4162-A8E8-60C31668145A}" type="datetimeFigureOut">
              <a:rPr lang="es-ES" smtClean="0"/>
              <a:t>22/12/2022</a:t>
            </a:fld>
            <a:endParaRPr lang="es-E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205D85-8A64-4AAF-A156-856ECBC624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1BC3A0-A667-49C4-86BC-F87FFE31B9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00DA9-4933-48FF-A08E-5987AA93F395}" type="slidenum">
              <a:rPr lang="es-ES" smtClean="0"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943406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527F1F-6FF3-45AC-8BBF-B259F6095C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3A2841-397D-4116-BE72-878FFEC503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D2309E-4042-4FC8-B628-BF6933A037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DF6ECE-24BA-4BF8-831D-4930086C965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A168C3-F1B1-445C-8775-AB68BE96992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7147A6C-B1C5-4A18-8688-746AD5039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D47CC-474A-4474-90EF-8BBF485EDA28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AA871E-C444-4B1C-96CB-E79B1BF74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E6BEE6-231A-484F-B931-1B4325228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3EF9B-837A-46AC-A6CA-C38F3126A551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174110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178BC1-F170-484E-BEF8-87072F6FC8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44FC68-A538-4B12-9D5E-2AD18A087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D47CC-474A-4474-90EF-8BBF485EDA28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B239493-6C76-405F-889F-233CEE9A8E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AD1241-BF38-492E-8A62-14897B241A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3EF9B-837A-46AC-A6CA-C38F3126A551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73571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0A8D05-DE50-47D7-888E-E17CCEB17C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D47CC-474A-4474-90EF-8BBF485EDA28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0C74D2-D9EA-46E1-AA33-366D5AFC97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F222C1-333E-444C-A279-52945AC0A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3EF9B-837A-46AC-A6CA-C38F3126A551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863005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AC139E-37AD-46AC-99F7-2DAEF655B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ACB987-388B-4D0E-B516-4851288950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2F5A50-FEF6-45F5-B1AF-0023E92DE2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B469BF-2B0F-4F35-B6CE-C9852D2646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D47CC-474A-4474-90EF-8BBF485EDA28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D02CD6-B48C-4D59-B1EB-27B31D476C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4E8CF8-AD16-4E27-A626-6B21128EC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3EF9B-837A-46AC-A6CA-C38F3126A551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86421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460B2C-7115-4D89-ACAA-4376D43F4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2ECE43-585E-4402-9CB3-65D4AEBD0E5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BDA30C-BAFB-4114-AAFB-A760925494F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CD47BD-CCDB-4CE7-B257-3599C1A88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D47CC-474A-4474-90EF-8BBF485EDA28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774FAF-F633-4C23-889F-A6C716444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3A1E12-2D0A-41DA-AD2B-5B117239B7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3EF9B-837A-46AC-A6CA-C38F3126A551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731268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oleObject" Target="../embeddings/oleObject2.bin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F7CFB97-19A8-4006-9811-CF1F91BC01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64311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F7CFB97-19A8-4006-9811-CF1F91BC0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6F995B-FC93-430B-922E-2FC1B3A51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A99F9B-A896-4262-8AE0-BF46FA4C3B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C4C8A1-82B8-4FAB-89D3-C8138FE9C6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CD47CC-474A-4474-90EF-8BBF485EDA28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EF1C8-0487-43D4-A7BB-4DCC7099DA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2C3281-06D0-4B7C-AFA8-CD0047F0B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43EF9B-837A-46AC-A6CA-C38F3126A551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9221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2DF58F-2D2C-4FCB-BFEB-74E2EB7E50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904340112"/>
              </p:ext>
            </p:extLst>
          </p:nvPr>
        </p:nvGraphicFramePr>
        <p:xfrm>
          <a:off x="2118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395" imgH="396" progId="TCLayout.ActiveDocument.1">
                  <p:embed/>
                </p:oleObj>
              </mc:Choice>
              <mc:Fallback>
                <p:oleObj name="think-cell Slide" r:id="rId3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2DF58F-2D2C-4FCB-BFEB-74E2EB7E5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2118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9603" y="6356351"/>
            <a:ext cx="303055" cy="311151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399" dirty="0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45845" y="6356349"/>
            <a:ext cx="1834969" cy="180000"/>
          </a:xfrm>
          <a:prstGeom prst="rect">
            <a:avLst/>
          </a:prstGeom>
        </p:spPr>
        <p:txBody>
          <a:bodyPr rIns="0"/>
          <a:lstStyle>
            <a:lvl1pPr marL="0" algn="r" defTabSz="913378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72B4ED32-288A-4939-B8DE-12607CAB14BB}" type="datetime6">
              <a:rPr lang="es-ES" smtClean="0"/>
              <a:pPr/>
              <a:t>diciembre de 2022</a:t>
            </a:fld>
            <a:endParaRPr lang="en-IN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>
            <a:lvl1pPr marL="0" algn="l" defTabSz="913378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18093" y="6487500"/>
            <a:ext cx="662721" cy="180000"/>
          </a:xfrm>
          <a:prstGeom prst="rect">
            <a:avLst/>
          </a:prstGeom>
        </p:spPr>
        <p:txBody>
          <a:bodyPr rIns="0"/>
          <a:lstStyle>
            <a:lvl1pPr marL="0" algn="r" defTabSz="913378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06861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</p:sldLayoutIdLst>
  <p:hf hdr="0" ftr="0"/>
  <p:txStyles>
    <p:titleStyle>
      <a:lvl1pPr algn="l" defTabSz="913378" rtl="0" eaLnBrk="1" latinLnBrk="0" hangingPunct="1">
        <a:lnSpc>
          <a:spcPct val="85000"/>
        </a:lnSpc>
        <a:spcBef>
          <a:spcPct val="0"/>
        </a:spcBef>
        <a:buNone/>
        <a:defRPr sz="2397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216" indent="-356216" algn="l" defTabSz="91337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7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436" indent="-356216" algn="l" defTabSz="91337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8655" indent="-356216" algn="l" defTabSz="91337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4871" indent="-356216" algn="l" defTabSz="91337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1090" indent="-356216" algn="l" defTabSz="91337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1793" indent="-228345" algn="l" defTabSz="913378" rtl="0" eaLnBrk="1" latinLnBrk="0" hangingPunct="1">
        <a:spcBef>
          <a:spcPct val="20000"/>
        </a:spcBef>
        <a:buFont typeface="Arial" pitchFamily="34" charset="0"/>
        <a:buChar char="•"/>
        <a:defRPr sz="1997" kern="1200">
          <a:solidFill>
            <a:schemeClr val="tx1"/>
          </a:solidFill>
          <a:latin typeface="+mn-lt"/>
          <a:ea typeface="+mn-ea"/>
          <a:cs typeface="+mn-cs"/>
        </a:defRPr>
      </a:lvl6pPr>
      <a:lvl7pPr marL="2968482" indent="-228345" algn="l" defTabSz="913378" rtl="0" eaLnBrk="1" latinLnBrk="0" hangingPunct="1">
        <a:spcBef>
          <a:spcPct val="20000"/>
        </a:spcBef>
        <a:buFont typeface="Arial" pitchFamily="34" charset="0"/>
        <a:buChar char="•"/>
        <a:defRPr sz="1997" kern="1200">
          <a:solidFill>
            <a:schemeClr val="tx1"/>
          </a:solidFill>
          <a:latin typeface="+mn-lt"/>
          <a:ea typeface="+mn-ea"/>
          <a:cs typeface="+mn-cs"/>
        </a:defRPr>
      </a:lvl7pPr>
      <a:lvl8pPr marL="3425172" indent="-228345" algn="l" defTabSz="913378" rtl="0" eaLnBrk="1" latinLnBrk="0" hangingPunct="1">
        <a:spcBef>
          <a:spcPct val="20000"/>
        </a:spcBef>
        <a:buFont typeface="Arial" pitchFamily="34" charset="0"/>
        <a:buChar char="•"/>
        <a:defRPr sz="1997" kern="1200">
          <a:solidFill>
            <a:schemeClr val="tx1"/>
          </a:solidFill>
          <a:latin typeface="+mn-lt"/>
          <a:ea typeface="+mn-ea"/>
          <a:cs typeface="+mn-cs"/>
        </a:defRPr>
      </a:lvl8pPr>
      <a:lvl9pPr marL="3881863" indent="-228345" algn="l" defTabSz="913378" rtl="0" eaLnBrk="1" latinLnBrk="0" hangingPunct="1">
        <a:spcBef>
          <a:spcPct val="20000"/>
        </a:spcBef>
        <a:buFont typeface="Arial" pitchFamily="34" charset="0"/>
        <a:buChar char="•"/>
        <a:defRPr sz="19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37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690" algn="l" defTabSz="91337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378" algn="l" defTabSz="91337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068" algn="l" defTabSz="91337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6757" algn="l" defTabSz="91337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3448" algn="l" defTabSz="91337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0138" algn="l" defTabSz="91337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6827" algn="l" defTabSz="91337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3517" algn="l" defTabSz="91337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13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4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15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6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8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.emf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.emf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7CDC06-9914-4D22-8BA9-B6C6461F91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654276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7CDC06-9914-4D22-8BA9-B6C6461F91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610D3A6F-2F69-46CC-A838-2F9F184F737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02" r="6165" b="34661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CFE88B09-1E88-488F-8D1E-104CCAF03FC2}"/>
              </a:ext>
            </a:extLst>
          </p:cNvPr>
          <p:cNvGrpSpPr>
            <a:grpSpLocks noChangeAspect="1"/>
          </p:cNvGrpSpPr>
          <p:nvPr/>
        </p:nvGrpSpPr>
        <p:grpSpPr>
          <a:xfrm>
            <a:off x="388658" y="627851"/>
            <a:ext cx="4446637" cy="3594496"/>
            <a:chOff x="388861" y="1100299"/>
            <a:chExt cx="3641678" cy="2943797"/>
          </a:xfrm>
        </p:grpSpPr>
        <p:sp>
          <p:nvSpPr>
            <p:cNvPr id="28" name="Flowchart: Manual Input 27">
              <a:extLst>
                <a:ext uri="{FF2B5EF4-FFF2-40B4-BE49-F238E27FC236}">
                  <a16:creationId xmlns:a16="http://schemas.microsoft.com/office/drawing/2014/main" id="{51C72D88-E0D3-429B-9BD1-376E0F18E3DA}"/>
                </a:ext>
              </a:extLst>
            </p:cNvPr>
            <p:cNvSpPr/>
            <p:nvPr/>
          </p:nvSpPr>
          <p:spPr>
            <a:xfrm>
              <a:off x="388861" y="1205469"/>
              <a:ext cx="3641677" cy="2838626"/>
            </a:xfrm>
            <a:prstGeom prst="flowChartManualInput">
              <a:avLst/>
            </a:prstGeom>
            <a:solidFill>
              <a:srgbClr val="44546A">
                <a:lumMod val="50000"/>
                <a:alpha val="69804"/>
              </a:srgbClr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tlCol="0" anchor="t" anchorCtr="0"/>
            <a:lstStyle/>
            <a:p>
              <a:pPr algn="ctr" defTabSz="685075"/>
              <a:endParaRPr lang="en-GB" sz="675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" name="AutoShape 3">
              <a:extLst>
                <a:ext uri="{FF2B5EF4-FFF2-40B4-BE49-F238E27FC236}">
                  <a16:creationId xmlns:a16="http://schemas.microsoft.com/office/drawing/2014/main" id="{24AA969E-870B-41AE-B62F-D44A8508F67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8862" y="1100299"/>
              <a:ext cx="3641677" cy="29437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381" tIns="25692" rIns="51381" bIns="25692" numCol="1" anchor="t" anchorCtr="0" compatLnSpc="1">
              <a:prstTxWarp prst="textNoShape">
                <a:avLst/>
              </a:prstTxWarp>
            </a:bodyPr>
            <a:lstStyle/>
            <a:p>
              <a:pPr defTabSz="685075"/>
              <a:endParaRPr lang="en-GB" sz="129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DF0CA32D-A431-4607-890D-3188B34359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862" y="1100299"/>
              <a:ext cx="3641677" cy="2943797"/>
            </a:xfrm>
            <a:custGeom>
              <a:avLst/>
              <a:gdLst>
                <a:gd name="T0" fmla="*/ 102 w 3410"/>
                <a:gd name="T1" fmla="*/ 2880 h 2880"/>
                <a:gd name="T2" fmla="*/ 0 w 3410"/>
                <a:gd name="T3" fmla="*/ 2880 h 2880"/>
                <a:gd name="T4" fmla="*/ 0 w 3410"/>
                <a:gd name="T5" fmla="*/ 2778 h 2880"/>
                <a:gd name="T6" fmla="*/ 102 w 3410"/>
                <a:gd name="T7" fmla="*/ 2778 h 2880"/>
                <a:gd name="T8" fmla="*/ 102 w 3410"/>
                <a:gd name="T9" fmla="*/ 2880 h 2880"/>
                <a:gd name="T10" fmla="*/ 288 w 3410"/>
                <a:gd name="T11" fmla="*/ 2778 h 2880"/>
                <a:gd name="T12" fmla="*/ 188 w 3410"/>
                <a:gd name="T13" fmla="*/ 2778 h 2880"/>
                <a:gd name="T14" fmla="*/ 188 w 3410"/>
                <a:gd name="T15" fmla="*/ 2880 h 2880"/>
                <a:gd name="T16" fmla="*/ 288 w 3410"/>
                <a:gd name="T17" fmla="*/ 2880 h 2880"/>
                <a:gd name="T18" fmla="*/ 288 w 3410"/>
                <a:gd name="T19" fmla="*/ 2778 h 2880"/>
                <a:gd name="T20" fmla="*/ 474 w 3410"/>
                <a:gd name="T21" fmla="*/ 2778 h 2880"/>
                <a:gd name="T22" fmla="*/ 374 w 3410"/>
                <a:gd name="T23" fmla="*/ 2778 h 2880"/>
                <a:gd name="T24" fmla="*/ 374 w 3410"/>
                <a:gd name="T25" fmla="*/ 2880 h 2880"/>
                <a:gd name="T26" fmla="*/ 474 w 3410"/>
                <a:gd name="T27" fmla="*/ 2880 h 2880"/>
                <a:gd name="T28" fmla="*/ 474 w 3410"/>
                <a:gd name="T29" fmla="*/ 2778 h 2880"/>
                <a:gd name="T30" fmla="*/ 0 w 3410"/>
                <a:gd name="T31" fmla="*/ 600 h 2880"/>
                <a:gd name="T32" fmla="*/ 0 w 3410"/>
                <a:gd name="T33" fmla="*/ 2694 h 2880"/>
                <a:gd name="T34" fmla="*/ 102 w 3410"/>
                <a:gd name="T35" fmla="*/ 2694 h 2880"/>
                <a:gd name="T36" fmla="*/ 102 w 3410"/>
                <a:gd name="T37" fmla="*/ 684 h 2880"/>
                <a:gd name="T38" fmla="*/ 3308 w 3410"/>
                <a:gd name="T39" fmla="*/ 120 h 2880"/>
                <a:gd name="T40" fmla="*/ 3310 w 3410"/>
                <a:gd name="T41" fmla="*/ 2778 h 2880"/>
                <a:gd name="T42" fmla="*/ 560 w 3410"/>
                <a:gd name="T43" fmla="*/ 2778 h 2880"/>
                <a:gd name="T44" fmla="*/ 560 w 3410"/>
                <a:gd name="T45" fmla="*/ 2880 h 2880"/>
                <a:gd name="T46" fmla="*/ 3410 w 3410"/>
                <a:gd name="T47" fmla="*/ 2880 h 2880"/>
                <a:gd name="T48" fmla="*/ 3410 w 3410"/>
                <a:gd name="T49" fmla="*/ 0 h 2880"/>
                <a:gd name="T50" fmla="*/ 0 w 3410"/>
                <a:gd name="T51" fmla="*/ 600 h 2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410" h="2880">
                  <a:moveTo>
                    <a:pt x="102" y="2880"/>
                  </a:moveTo>
                  <a:lnTo>
                    <a:pt x="0" y="2880"/>
                  </a:lnTo>
                  <a:lnTo>
                    <a:pt x="0" y="2778"/>
                  </a:lnTo>
                  <a:lnTo>
                    <a:pt x="102" y="2778"/>
                  </a:lnTo>
                  <a:lnTo>
                    <a:pt x="102" y="2880"/>
                  </a:lnTo>
                  <a:close/>
                  <a:moveTo>
                    <a:pt x="288" y="2778"/>
                  </a:moveTo>
                  <a:lnTo>
                    <a:pt x="188" y="2778"/>
                  </a:lnTo>
                  <a:lnTo>
                    <a:pt x="188" y="2880"/>
                  </a:lnTo>
                  <a:lnTo>
                    <a:pt x="288" y="2880"/>
                  </a:lnTo>
                  <a:lnTo>
                    <a:pt x="288" y="2778"/>
                  </a:lnTo>
                  <a:close/>
                  <a:moveTo>
                    <a:pt x="474" y="2778"/>
                  </a:moveTo>
                  <a:lnTo>
                    <a:pt x="374" y="2778"/>
                  </a:lnTo>
                  <a:lnTo>
                    <a:pt x="374" y="2880"/>
                  </a:lnTo>
                  <a:lnTo>
                    <a:pt x="474" y="2880"/>
                  </a:lnTo>
                  <a:lnTo>
                    <a:pt x="474" y="2778"/>
                  </a:lnTo>
                  <a:close/>
                  <a:moveTo>
                    <a:pt x="0" y="600"/>
                  </a:moveTo>
                  <a:lnTo>
                    <a:pt x="0" y="2694"/>
                  </a:lnTo>
                  <a:lnTo>
                    <a:pt x="102" y="2694"/>
                  </a:lnTo>
                  <a:lnTo>
                    <a:pt x="102" y="684"/>
                  </a:lnTo>
                  <a:lnTo>
                    <a:pt x="3308" y="120"/>
                  </a:lnTo>
                  <a:lnTo>
                    <a:pt x="3310" y="2778"/>
                  </a:lnTo>
                  <a:lnTo>
                    <a:pt x="560" y="2778"/>
                  </a:lnTo>
                  <a:lnTo>
                    <a:pt x="560" y="2880"/>
                  </a:lnTo>
                  <a:lnTo>
                    <a:pt x="3410" y="2880"/>
                  </a:lnTo>
                  <a:lnTo>
                    <a:pt x="3410" y="0"/>
                  </a:lnTo>
                  <a:lnTo>
                    <a:pt x="0" y="60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381" tIns="25692" rIns="51381" bIns="25692" numCol="1" anchor="t" anchorCtr="0" compatLnSpc="1">
              <a:prstTxWarp prst="textNoShape">
                <a:avLst/>
              </a:prstTxWarp>
            </a:bodyPr>
            <a:lstStyle/>
            <a:p>
              <a:pPr defTabSz="685075"/>
              <a:endParaRPr lang="en-GB" sz="1292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9" name="Title 1">
            <a:extLst>
              <a:ext uri="{FF2B5EF4-FFF2-40B4-BE49-F238E27FC236}">
                <a16:creationId xmlns:a16="http://schemas.microsoft.com/office/drawing/2014/main" id="{CB2D9A47-F7EC-41D2-9088-179E22D68FA2}"/>
              </a:ext>
            </a:extLst>
          </p:cNvPr>
          <p:cNvSpPr txBox="1">
            <a:spLocks/>
          </p:cNvSpPr>
          <p:nvPr/>
        </p:nvSpPr>
        <p:spPr>
          <a:xfrm>
            <a:off x="528488" y="1611978"/>
            <a:ext cx="4202027" cy="1583783"/>
          </a:xfrm>
          <a:prstGeom prst="rect">
            <a:avLst/>
          </a:prstGeom>
        </p:spPr>
        <p:txBody>
          <a:bodyPr vert="horz" lIns="91344" tIns="45672" rIns="91344" bIns="45672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49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algn="ctr" defTabSz="685075"/>
            <a:endParaRPr lang="es-ES" sz="1400" dirty="0">
              <a:solidFill>
                <a:prstClr val="white"/>
              </a:solidFill>
              <a:latin typeface="EYInterstate" panose="02000503020000020004" pitchFamily="2" charset="0"/>
            </a:endParaRPr>
          </a:p>
          <a:p>
            <a:pPr algn="ctr" defTabSz="685075"/>
            <a:r>
              <a:rPr lang="es-ES" sz="2800" b="1" dirty="0">
                <a:solidFill>
                  <a:srgbClr val="FFE600"/>
                </a:solidFill>
                <a:latin typeface="EYInterstate" panose="02000503020000020004" pitchFamily="2" charset="0"/>
              </a:rPr>
              <a:t>Presentación </a:t>
            </a:r>
          </a:p>
          <a:p>
            <a:pPr algn="ctr" defTabSz="685075"/>
            <a:r>
              <a:rPr lang="es-ES" sz="2800" b="1" dirty="0">
                <a:solidFill>
                  <a:srgbClr val="FFE600"/>
                </a:solidFill>
                <a:latin typeface="EYInterstate" panose="02000503020000020004" pitchFamily="2" charset="0"/>
              </a:rPr>
              <a:t>proyecto final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798E48E5-4A9E-442D-95A4-D84E85A3100C}"/>
              </a:ext>
            </a:extLst>
          </p:cNvPr>
          <p:cNvSpPr txBox="1">
            <a:spLocks/>
          </p:cNvSpPr>
          <p:nvPr/>
        </p:nvSpPr>
        <p:spPr>
          <a:xfrm>
            <a:off x="528489" y="3733600"/>
            <a:ext cx="3010764" cy="483803"/>
          </a:xfrm>
          <a:prstGeom prst="rect">
            <a:avLst/>
          </a:prstGeom>
        </p:spPr>
        <p:txBody>
          <a:bodyPr vert="horz" lIns="91344" tIns="45672" rIns="91344" bIns="45672" rtlCol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4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199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457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8186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0915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3643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6371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91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1828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075">
              <a:spcBef>
                <a:spcPts val="749"/>
              </a:spcBef>
            </a:pPr>
            <a:r>
              <a:rPr lang="es-ES" sz="1399" b="1" dirty="0">
                <a:solidFill>
                  <a:prstClr val="white"/>
                </a:solidFill>
                <a:latin typeface="EYInterstate Regular" panose="02000503020000020004" pitchFamily="2" charset="0"/>
              </a:rPr>
              <a:t>Diciembre 2022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2A51941-1842-48F6-B97A-E840713D04A5}"/>
              </a:ext>
            </a:extLst>
          </p:cNvPr>
          <p:cNvGrpSpPr/>
          <p:nvPr/>
        </p:nvGrpSpPr>
        <p:grpSpPr>
          <a:xfrm>
            <a:off x="388658" y="5388581"/>
            <a:ext cx="6113733" cy="1147228"/>
            <a:chOff x="275337" y="2712577"/>
            <a:chExt cx="3063240" cy="574810"/>
          </a:xfrm>
        </p:grpSpPr>
        <p:sp>
          <p:nvSpPr>
            <p:cNvPr id="12" name="Rectangle 74">
              <a:extLst>
                <a:ext uri="{FF2B5EF4-FFF2-40B4-BE49-F238E27FC236}">
                  <a16:creationId xmlns:a16="http://schemas.microsoft.com/office/drawing/2014/main" id="{8B839087-16CB-4523-8F6C-EF17E75AA3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337" y="2712577"/>
              <a:ext cx="91029" cy="84598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499" tIns="91248" rIns="182499" bIns="91248" numCol="1" anchor="t" anchorCtr="0" compatLnSpc="1">
              <a:prstTxWarp prst="textNoShape">
                <a:avLst/>
              </a:prstTxWarp>
            </a:bodyPr>
            <a:lstStyle/>
            <a:p>
              <a:pPr defTabSz="911147"/>
              <a:endParaRPr lang="es-ES" sz="1797">
                <a:solidFill>
                  <a:prstClr val="black"/>
                </a:solidFill>
                <a:latin typeface="EYInterstate Light"/>
              </a:endParaRPr>
            </a:p>
          </p:txBody>
        </p:sp>
        <p:sp>
          <p:nvSpPr>
            <p:cNvPr id="14" name="Rectangle 75">
              <a:extLst>
                <a:ext uri="{FF2B5EF4-FFF2-40B4-BE49-F238E27FC236}">
                  <a16:creationId xmlns:a16="http://schemas.microsoft.com/office/drawing/2014/main" id="{BB62CF62-E842-4A4A-84D7-EC40A2F14D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263" y="2712577"/>
              <a:ext cx="87778" cy="84598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499" tIns="91248" rIns="182499" bIns="91248" numCol="1" anchor="t" anchorCtr="0" compatLnSpc="1">
              <a:prstTxWarp prst="textNoShape">
                <a:avLst/>
              </a:prstTxWarp>
            </a:bodyPr>
            <a:lstStyle/>
            <a:p>
              <a:pPr defTabSz="911147"/>
              <a:endParaRPr lang="es-ES" sz="1797">
                <a:solidFill>
                  <a:prstClr val="black"/>
                </a:solidFill>
                <a:latin typeface="EYInterstate Light"/>
              </a:endParaRPr>
            </a:p>
          </p:txBody>
        </p:sp>
        <p:sp>
          <p:nvSpPr>
            <p:cNvPr id="15" name="Rectangle 76">
              <a:extLst>
                <a:ext uri="{FF2B5EF4-FFF2-40B4-BE49-F238E27FC236}">
                  <a16:creationId xmlns:a16="http://schemas.microsoft.com/office/drawing/2014/main" id="{45A0C0F9-EC04-4AAF-A737-D62B344409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188" y="2712577"/>
              <a:ext cx="87778" cy="84598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499" tIns="91248" rIns="182499" bIns="91248" numCol="1" anchor="t" anchorCtr="0" compatLnSpc="1">
              <a:prstTxWarp prst="textNoShape">
                <a:avLst/>
              </a:prstTxWarp>
            </a:bodyPr>
            <a:lstStyle/>
            <a:p>
              <a:pPr defTabSz="911147"/>
              <a:endParaRPr lang="es-ES" sz="1797">
                <a:solidFill>
                  <a:prstClr val="black"/>
                </a:solidFill>
                <a:latin typeface="EYInterstate Light"/>
              </a:endParaRPr>
            </a:p>
          </p:txBody>
        </p:sp>
        <p:sp>
          <p:nvSpPr>
            <p:cNvPr id="16" name="Text Placeholder 14">
              <a:extLst>
                <a:ext uri="{FF2B5EF4-FFF2-40B4-BE49-F238E27FC236}">
                  <a16:creationId xmlns:a16="http://schemas.microsoft.com/office/drawing/2014/main" id="{342F58DA-0A8E-43E9-854C-AD7B1DDA3982}"/>
                </a:ext>
              </a:extLst>
            </p:cNvPr>
            <p:cNvSpPr txBox="1">
              <a:spLocks/>
            </p:cNvSpPr>
            <p:nvPr/>
          </p:nvSpPr>
          <p:spPr>
            <a:xfrm>
              <a:off x="275337" y="2825916"/>
              <a:ext cx="3063240" cy="461471"/>
            </a:xfrm>
            <a:prstGeom prst="rect">
              <a:avLst/>
            </a:prstGeom>
          </p:spPr>
          <p:txBody>
            <a:bodyPr vert="horz" lIns="0" tIns="0" rIns="0" bIns="0" rtlCol="0" anchor="ctr">
              <a:spAutoFit/>
            </a:bodyPr>
            <a:lstStyle>
              <a:defPPr>
                <a:defRPr lang="es-ES"/>
              </a:defPPr>
              <a:lvl1pPr marL="0" algn="l" defTabSz="457023" rtl="0" eaLnBrk="1" latinLnBrk="0" hangingPunct="1">
                <a:defRPr kumimoji="0" lang="en-GB" sz="1800" b="0" i="0" u="none" strike="noStrike" kern="0" cap="none" spc="0" normalizeH="0" baseline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EYInterstate Regular" pitchFamily="2" charset="0"/>
                  <a:ea typeface="+mj-ea"/>
                  <a:cs typeface="+mj-cs"/>
                </a:defRPr>
              </a:lvl1pPr>
              <a:lvl2pPr marL="228511" algn="l" defTabSz="457023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023" algn="l" defTabSz="457023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85533" algn="l" defTabSz="457023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14044" algn="l" defTabSz="457023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142555" algn="l" defTabSz="457023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371067" algn="l" defTabSz="457023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599577" algn="l" defTabSz="457023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828088" algn="l" defTabSz="457023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98441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995" dirty="0">
                  <a:solidFill>
                    <a:prstClr val="white"/>
                  </a:solidFill>
                </a:rPr>
                <a:t>The better the question. </a:t>
              </a:r>
            </a:p>
            <a:p>
              <a:pPr defTabSz="198441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995" dirty="0">
                  <a:solidFill>
                    <a:prstClr val="white"/>
                  </a:solidFill>
                </a:rPr>
                <a:t>The better the answer.</a:t>
              </a:r>
            </a:p>
            <a:p>
              <a:pPr defTabSz="198441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995" dirty="0">
                  <a:solidFill>
                    <a:prstClr val="white"/>
                  </a:solidFill>
                </a:rPr>
                <a:t>The better the world works.</a:t>
              </a: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985BF1FA-52B3-4E04-9B06-439A733CB0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817" y="5477933"/>
            <a:ext cx="932895" cy="1071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8597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A7677E7-D8A1-4BE8-9A6F-CDA67C35A38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02" r="6165" b="34661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5695A64-94D1-4BF2-B10E-6BA44AB6AE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5695A64-94D1-4BF2-B10E-6BA44AB6AE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ángulo 3">
            <a:extLst>
              <a:ext uri="{FF2B5EF4-FFF2-40B4-BE49-F238E27FC236}">
                <a16:creationId xmlns:a16="http://schemas.microsoft.com/office/drawing/2014/main" id="{8F543AB0-D233-4A76-AA16-7940EA4AFA00}"/>
              </a:ext>
            </a:extLst>
          </p:cNvPr>
          <p:cNvSpPr/>
          <p:nvPr/>
        </p:nvSpPr>
        <p:spPr>
          <a:xfrm>
            <a:off x="-1" y="-12226"/>
            <a:ext cx="4786489" cy="6870225"/>
          </a:xfrm>
          <a:prstGeom prst="rect">
            <a:avLst/>
          </a:prstGeom>
          <a:solidFill>
            <a:srgbClr val="000000">
              <a:alpha val="80000"/>
            </a:srgbClr>
          </a:solidFill>
          <a:ln w="285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  <a:defRPr/>
            </a:pPr>
            <a:endParaRPr lang="es-ES" sz="1600" kern="0" dirty="0">
              <a:solidFill>
                <a:prstClr val="white"/>
              </a:solidFill>
              <a:latin typeface="Calibri" panose="020F0502020204030204"/>
              <a:sym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1BD6EA-139F-4425-BB63-1FDFD6EC17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817" y="5477933"/>
            <a:ext cx="932895" cy="1071168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B4C2BF7E-9BF1-4AC5-B9EC-414B84413EAD}"/>
              </a:ext>
            </a:extLst>
          </p:cNvPr>
          <p:cNvSpPr txBox="1"/>
          <p:nvPr/>
        </p:nvSpPr>
        <p:spPr>
          <a:xfrm>
            <a:off x="324823" y="2344680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n-IN" sz="4267" kern="0" dirty="0">
                <a:solidFill>
                  <a:schemeClr val="tx1">
                    <a:lumMod val="65000"/>
                  </a:schemeClr>
                </a:solidFill>
                <a:latin typeface="EYInterstate Light" panose="02000506000000020004" pitchFamily="2" charset="0"/>
                <a:cs typeface="Arial"/>
                <a:sym typeface="Arial"/>
              </a:rPr>
              <a:t>03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0DA8AEE-89A6-45D7-87EC-1BE917E937CB}"/>
              </a:ext>
            </a:extLst>
          </p:cNvPr>
          <p:cNvSpPr txBox="1"/>
          <p:nvPr/>
        </p:nvSpPr>
        <p:spPr>
          <a:xfrm>
            <a:off x="1234488" y="2489665"/>
            <a:ext cx="3073896" cy="268200"/>
          </a:xfrm>
          <a:prstGeom prst="rect">
            <a:avLst/>
          </a:prstGeom>
          <a:noFill/>
        </p:spPr>
        <p:txBody>
          <a:bodyPr wrap="square" lIns="37775" tIns="37775" rIns="37775" bIns="37775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s-ES" sz="1467" kern="0" dirty="0">
                <a:solidFill>
                  <a:schemeClr val="tx1">
                    <a:lumMod val="65000"/>
                  </a:schemeClr>
                </a:solidFill>
                <a:latin typeface="EYInterstate Light" panose="02000506000000020004" pitchFamily="2" charset="0"/>
                <a:cs typeface="Arial"/>
                <a:sym typeface="Arial"/>
              </a:rPr>
              <a:t>Análisi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6533B73-7B2D-4B37-8CD4-3F6C71FA819A}"/>
              </a:ext>
            </a:extLst>
          </p:cNvPr>
          <p:cNvSpPr txBox="1"/>
          <p:nvPr/>
        </p:nvSpPr>
        <p:spPr>
          <a:xfrm>
            <a:off x="324823" y="746341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lnSpc>
                <a:spcPct val="85000"/>
              </a:lnSpc>
              <a:spcAft>
                <a:spcPts val="472"/>
              </a:spcAft>
              <a:buClr>
                <a:srgbClr val="FFE600"/>
              </a:buClr>
              <a:buSzPct val="70000"/>
              <a:buNone/>
              <a:tabLst/>
              <a:defRPr kumimoji="0" sz="3200" kern="0" spc="0" normalizeH="0" baseline="0">
                <a:ln>
                  <a:noFill/>
                </a:ln>
                <a:solidFill>
                  <a:srgbClr val="FFD400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1pPr>
          </a:lstStyle>
          <a:p>
            <a:r>
              <a:rPr lang="en-IN" sz="4267" dirty="0">
                <a:solidFill>
                  <a:srgbClr val="E7E6E6">
                    <a:lumMod val="75000"/>
                  </a:srgbClr>
                </a:solidFill>
                <a:cs typeface="Arial"/>
              </a:rPr>
              <a:t>0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FE1FC68-0500-4894-9378-6D94921CAD6E}"/>
              </a:ext>
            </a:extLst>
          </p:cNvPr>
          <p:cNvSpPr txBox="1"/>
          <p:nvPr/>
        </p:nvSpPr>
        <p:spPr>
          <a:xfrm>
            <a:off x="1234488" y="891325"/>
            <a:ext cx="3552000" cy="268200"/>
          </a:xfrm>
          <a:prstGeom prst="rect">
            <a:avLst/>
          </a:prstGeom>
          <a:noFill/>
        </p:spPr>
        <p:txBody>
          <a:bodyPr wrap="square" lIns="37775" tIns="37775" rIns="37775" bIns="37775" rtlCol="0" anchor="ctr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lnSpc>
                <a:spcPct val="85000"/>
              </a:lnSpc>
              <a:spcAft>
                <a:spcPts val="472"/>
              </a:spcAft>
              <a:buClr>
                <a:srgbClr val="FFE600"/>
              </a:buClr>
              <a:buSzPct val="70000"/>
              <a:buNone/>
              <a:tabLst/>
              <a:defRPr kumimoji="0" sz="1100" b="1" kern="0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1pPr>
          </a:lstStyle>
          <a:p>
            <a:r>
              <a:rPr lang="es-ES" sz="1467" dirty="0">
                <a:solidFill>
                  <a:srgbClr val="E7E6E6">
                    <a:lumMod val="75000"/>
                  </a:srgbClr>
                </a:solidFill>
                <a:cs typeface="Arial"/>
                <a:sym typeface="Arial"/>
              </a:rPr>
              <a:t>Contexto</a:t>
            </a:r>
            <a:endParaRPr lang="es-ES" sz="1467" dirty="0">
              <a:solidFill>
                <a:srgbClr val="E7E6E6">
                  <a:lumMod val="75000"/>
                </a:srgbClr>
              </a:solidFill>
              <a:cs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2EDD53A-155F-4C19-B612-A99B0B02B890}"/>
              </a:ext>
            </a:extLst>
          </p:cNvPr>
          <p:cNvSpPr txBox="1"/>
          <p:nvPr/>
        </p:nvSpPr>
        <p:spPr>
          <a:xfrm>
            <a:off x="324823" y="1545527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n-IN" sz="4267" kern="0" dirty="0">
                <a:solidFill>
                  <a:schemeClr val="tx1">
                    <a:lumMod val="65000"/>
                  </a:schemeClr>
                </a:solidFill>
                <a:latin typeface="EYInterstate Light" panose="02000506000000020004" pitchFamily="2" charset="0"/>
                <a:cs typeface="Arial"/>
                <a:sym typeface="Arial"/>
              </a:rPr>
              <a:t>0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37AA954-C5AC-44D1-9A36-F46B272B1EEF}"/>
              </a:ext>
            </a:extLst>
          </p:cNvPr>
          <p:cNvSpPr txBox="1"/>
          <p:nvPr/>
        </p:nvSpPr>
        <p:spPr>
          <a:xfrm>
            <a:off x="1234488" y="1690511"/>
            <a:ext cx="3073896" cy="268200"/>
          </a:xfrm>
          <a:prstGeom prst="rect">
            <a:avLst/>
          </a:prstGeom>
          <a:noFill/>
        </p:spPr>
        <p:txBody>
          <a:bodyPr wrap="square" lIns="37775" tIns="37775" rIns="37775" bIns="37775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s-ES" sz="1467" kern="0" dirty="0">
                <a:solidFill>
                  <a:schemeClr val="tx1">
                    <a:lumMod val="65000"/>
                  </a:schemeClr>
                </a:solidFill>
                <a:latin typeface="EYInterstate Light" panose="02000506000000020004" pitchFamily="2" charset="0"/>
                <a:cs typeface="Arial"/>
                <a:sym typeface="Arial"/>
              </a:rPr>
              <a:t>Model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7ACDF1-255D-4DCC-A589-D1F135432D6E}"/>
              </a:ext>
            </a:extLst>
          </p:cNvPr>
          <p:cNvSpPr txBox="1"/>
          <p:nvPr/>
        </p:nvSpPr>
        <p:spPr>
          <a:xfrm>
            <a:off x="324823" y="3143803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n-IN" sz="4267" kern="0" dirty="0">
                <a:solidFill>
                  <a:srgbClr val="FFE600"/>
                </a:solidFill>
                <a:latin typeface="EYInterstate Light" panose="02000506000000020004" pitchFamily="2" charset="0"/>
                <a:cs typeface="Arial"/>
                <a:sym typeface="Arial"/>
              </a:rPr>
              <a:t>0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9B14C04-4059-4E5D-A5F6-1CCCBA6E5C16}"/>
              </a:ext>
            </a:extLst>
          </p:cNvPr>
          <p:cNvSpPr txBox="1"/>
          <p:nvPr/>
        </p:nvSpPr>
        <p:spPr>
          <a:xfrm>
            <a:off x="1234488" y="3283002"/>
            <a:ext cx="3073896" cy="268200"/>
          </a:xfrm>
          <a:prstGeom prst="rect">
            <a:avLst/>
          </a:prstGeom>
          <a:noFill/>
        </p:spPr>
        <p:txBody>
          <a:bodyPr wrap="square" lIns="37775" tIns="37775" rIns="37775" bIns="37775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s-ES" sz="1467" kern="0" dirty="0">
                <a:latin typeface="EYInterstate Light" panose="02000506000000020004" pitchFamily="2" charset="0"/>
                <a:cs typeface="Arial"/>
                <a:sym typeface="Arial"/>
              </a:rPr>
              <a:t>Visualización</a:t>
            </a:r>
          </a:p>
        </p:txBody>
      </p:sp>
    </p:spTree>
    <p:extLst>
      <p:ext uri="{BB962C8B-B14F-4D97-AF65-F5344CB8AC3E}">
        <p14:creationId xmlns:p14="http://schemas.microsoft.com/office/powerpoint/2010/main" val="33789706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D6387DE-B75C-4DD9-A124-18E8B83ACE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6681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D6387DE-B75C-4DD9-A124-18E8B83AC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5FBD62-51A7-45E9-AE9F-6B94F982F8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IN"/>
              <a:t>2022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0EC38E-8D17-48F1-8C19-ED1EE475E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s-ES" smtClean="0"/>
              <a:pPr/>
              <a:t>11</a:t>
            </a:fld>
            <a:endParaRPr lang="es-E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E34F101-C99B-419E-9397-B2C0335DA6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 vert="horz"/>
          <a:lstStyle/>
          <a:p>
            <a:r>
              <a:rPr lang="es-ES" dirty="0"/>
              <a:t>Análisi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C25B45A-AAF9-49DB-B892-D2AAEBBE748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7647"/>
          <a:stretch/>
        </p:blipFill>
        <p:spPr>
          <a:xfrm>
            <a:off x="609601" y="1211609"/>
            <a:ext cx="7295566" cy="424337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2D833A3-DE00-4A37-8950-C34F3A26D3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23909" y="1915199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1</a:t>
            </a:r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404705B9-1579-40B2-8742-2DB377BACC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23909" y="2348502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2</a:t>
            </a:r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BE9DEFB3-E19B-4464-A5AD-C2A5D0B8F5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23909" y="2781805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3</a:t>
            </a:r>
          </a:p>
        </p:txBody>
      </p:sp>
      <p:sp>
        <p:nvSpPr>
          <p:cNvPr id="14" name="Rectangle 10">
            <a:extLst>
              <a:ext uri="{FF2B5EF4-FFF2-40B4-BE49-F238E27FC236}">
                <a16:creationId xmlns:a16="http://schemas.microsoft.com/office/drawing/2014/main" id="{93322A6D-9281-470B-AD78-6FB4DC4CC4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23909" y="3215108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4</a:t>
            </a:r>
          </a:p>
        </p:txBody>
      </p:sp>
      <p:sp>
        <p:nvSpPr>
          <p:cNvPr id="15" name="Rectangle 10">
            <a:extLst>
              <a:ext uri="{FF2B5EF4-FFF2-40B4-BE49-F238E27FC236}">
                <a16:creationId xmlns:a16="http://schemas.microsoft.com/office/drawing/2014/main" id="{53C86CF0-EF0D-4573-A1BF-61CB7B5EF9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23909" y="3648411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5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147CADB-79B7-47F7-BECA-D258188500C9}"/>
              </a:ext>
            </a:extLst>
          </p:cNvPr>
          <p:cNvSpPr/>
          <p:nvPr/>
        </p:nvSpPr>
        <p:spPr>
          <a:xfrm>
            <a:off x="8527106" y="2374527"/>
            <a:ext cx="2723935" cy="30927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CHECKUP1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Indica cuando fue la última vez que se realizó una revisión medica rutinaria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0465064-0B92-430D-90DE-23A50404284D}"/>
              </a:ext>
            </a:extLst>
          </p:cNvPr>
          <p:cNvSpPr/>
          <p:nvPr/>
        </p:nvSpPr>
        <p:spPr>
          <a:xfrm>
            <a:off x="8527227" y="1987244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CVDSTRK3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Si alguna vez a padecido un ictu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6B77C1F-0529-4FFD-BBD2-0434FF8B8DE7}"/>
              </a:ext>
            </a:extLst>
          </p:cNvPr>
          <p:cNvSpPr/>
          <p:nvPr/>
        </p:nvSpPr>
        <p:spPr>
          <a:xfrm>
            <a:off x="8557705" y="3300499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MARITAL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Indica el estado civi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E8D2632-14A8-40F4-BE32-F31DD81BFE62}"/>
              </a:ext>
            </a:extLst>
          </p:cNvPr>
          <p:cNvSpPr/>
          <p:nvPr/>
        </p:nvSpPr>
        <p:spPr>
          <a:xfrm>
            <a:off x="8527106" y="2863802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EMPLOY1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Da información sobre el tipo de empleo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10689F4-27DE-48F0-BA54-21F0E22F63CA}"/>
              </a:ext>
            </a:extLst>
          </p:cNvPr>
          <p:cNvSpPr/>
          <p:nvPr/>
        </p:nvSpPr>
        <p:spPr>
          <a:xfrm>
            <a:off x="8557705" y="3710913"/>
            <a:ext cx="2479165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LASTSMK2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Última vez que fumó un cigarrillo</a:t>
            </a:r>
          </a:p>
        </p:txBody>
      </p:sp>
    </p:spTree>
    <p:extLst>
      <p:ext uri="{BB962C8B-B14F-4D97-AF65-F5344CB8AC3E}">
        <p14:creationId xmlns:p14="http://schemas.microsoft.com/office/powerpoint/2010/main" val="26775060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A7677E7-D8A1-4BE8-9A6F-CDA67C35A38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02" r="6165" b="34661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5695A64-94D1-4BF2-B10E-6BA44AB6AE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5695A64-94D1-4BF2-B10E-6BA44AB6AE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ángulo 3">
            <a:extLst>
              <a:ext uri="{FF2B5EF4-FFF2-40B4-BE49-F238E27FC236}">
                <a16:creationId xmlns:a16="http://schemas.microsoft.com/office/drawing/2014/main" id="{8F543AB0-D233-4A76-AA16-7940EA4AFA00}"/>
              </a:ext>
            </a:extLst>
          </p:cNvPr>
          <p:cNvSpPr/>
          <p:nvPr/>
        </p:nvSpPr>
        <p:spPr>
          <a:xfrm>
            <a:off x="-1" y="-12226"/>
            <a:ext cx="4786489" cy="6870225"/>
          </a:xfrm>
          <a:prstGeom prst="rect">
            <a:avLst/>
          </a:prstGeom>
          <a:solidFill>
            <a:srgbClr val="000000">
              <a:alpha val="80000"/>
            </a:srgbClr>
          </a:solidFill>
          <a:ln w="285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  <a:defRPr/>
            </a:pPr>
            <a:endParaRPr lang="es-ES" sz="1600" kern="0" dirty="0">
              <a:solidFill>
                <a:prstClr val="white"/>
              </a:solidFill>
              <a:latin typeface="Calibri" panose="020F0502020204030204"/>
              <a:sym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1BD6EA-139F-4425-BB63-1FDFD6EC17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817" y="5477933"/>
            <a:ext cx="932895" cy="1071168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B4C2BF7E-9BF1-4AC5-B9EC-414B84413EAD}"/>
              </a:ext>
            </a:extLst>
          </p:cNvPr>
          <p:cNvSpPr txBox="1"/>
          <p:nvPr/>
        </p:nvSpPr>
        <p:spPr>
          <a:xfrm>
            <a:off x="324823" y="2344680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n-IN" sz="4267" kern="0" dirty="0">
                <a:solidFill>
                  <a:schemeClr val="tx1">
                    <a:lumMod val="65000"/>
                  </a:schemeClr>
                </a:solidFill>
                <a:latin typeface="EYInterstate Light" panose="02000506000000020004" pitchFamily="2" charset="0"/>
                <a:cs typeface="Arial"/>
                <a:sym typeface="Arial"/>
              </a:rPr>
              <a:t>03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0DA8AEE-89A6-45D7-87EC-1BE917E937CB}"/>
              </a:ext>
            </a:extLst>
          </p:cNvPr>
          <p:cNvSpPr txBox="1"/>
          <p:nvPr/>
        </p:nvSpPr>
        <p:spPr>
          <a:xfrm>
            <a:off x="1234488" y="2489665"/>
            <a:ext cx="3073896" cy="268200"/>
          </a:xfrm>
          <a:prstGeom prst="rect">
            <a:avLst/>
          </a:prstGeom>
          <a:noFill/>
        </p:spPr>
        <p:txBody>
          <a:bodyPr wrap="square" lIns="37775" tIns="37775" rIns="37775" bIns="37775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s-ES" sz="1467" kern="0" dirty="0">
                <a:solidFill>
                  <a:schemeClr val="tx1">
                    <a:lumMod val="65000"/>
                  </a:schemeClr>
                </a:solidFill>
                <a:latin typeface="EYInterstate Light" panose="02000506000000020004" pitchFamily="2" charset="0"/>
                <a:cs typeface="Arial"/>
                <a:sym typeface="Arial"/>
              </a:rPr>
              <a:t>Análisi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6533B73-7B2D-4B37-8CD4-3F6C71FA819A}"/>
              </a:ext>
            </a:extLst>
          </p:cNvPr>
          <p:cNvSpPr txBox="1"/>
          <p:nvPr/>
        </p:nvSpPr>
        <p:spPr>
          <a:xfrm>
            <a:off x="324823" y="746341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lnSpc>
                <a:spcPct val="85000"/>
              </a:lnSpc>
              <a:spcAft>
                <a:spcPts val="472"/>
              </a:spcAft>
              <a:buClr>
                <a:srgbClr val="FFE600"/>
              </a:buClr>
              <a:buSzPct val="70000"/>
              <a:buNone/>
              <a:tabLst/>
              <a:defRPr kumimoji="0" sz="3200" kern="0" spc="0" normalizeH="0" baseline="0">
                <a:ln>
                  <a:noFill/>
                </a:ln>
                <a:solidFill>
                  <a:srgbClr val="FFD400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1pPr>
          </a:lstStyle>
          <a:p>
            <a:r>
              <a:rPr lang="en-IN" sz="4267" dirty="0">
                <a:solidFill>
                  <a:srgbClr val="E7E6E6">
                    <a:lumMod val="75000"/>
                  </a:srgbClr>
                </a:solidFill>
                <a:cs typeface="Arial"/>
              </a:rPr>
              <a:t>0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FE1FC68-0500-4894-9378-6D94921CAD6E}"/>
              </a:ext>
            </a:extLst>
          </p:cNvPr>
          <p:cNvSpPr txBox="1"/>
          <p:nvPr/>
        </p:nvSpPr>
        <p:spPr>
          <a:xfrm>
            <a:off x="1234488" y="891325"/>
            <a:ext cx="3552000" cy="268200"/>
          </a:xfrm>
          <a:prstGeom prst="rect">
            <a:avLst/>
          </a:prstGeom>
          <a:noFill/>
        </p:spPr>
        <p:txBody>
          <a:bodyPr wrap="square" lIns="37775" tIns="37775" rIns="37775" bIns="37775" rtlCol="0" anchor="ctr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lnSpc>
                <a:spcPct val="85000"/>
              </a:lnSpc>
              <a:spcAft>
                <a:spcPts val="472"/>
              </a:spcAft>
              <a:buClr>
                <a:srgbClr val="FFE600"/>
              </a:buClr>
              <a:buSzPct val="70000"/>
              <a:buNone/>
              <a:tabLst/>
              <a:defRPr kumimoji="0" sz="1100" b="1" kern="0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1pPr>
          </a:lstStyle>
          <a:p>
            <a:r>
              <a:rPr lang="es-ES" sz="1467" dirty="0">
                <a:solidFill>
                  <a:srgbClr val="E7E6E6">
                    <a:lumMod val="75000"/>
                  </a:srgbClr>
                </a:solidFill>
                <a:cs typeface="Arial"/>
                <a:sym typeface="Arial"/>
              </a:rPr>
              <a:t>Contexto</a:t>
            </a:r>
            <a:endParaRPr lang="es-ES" sz="1467" dirty="0">
              <a:solidFill>
                <a:srgbClr val="E7E6E6">
                  <a:lumMod val="75000"/>
                </a:srgbClr>
              </a:solidFill>
              <a:cs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2EDD53A-155F-4C19-B612-A99B0B02B890}"/>
              </a:ext>
            </a:extLst>
          </p:cNvPr>
          <p:cNvSpPr txBox="1"/>
          <p:nvPr/>
        </p:nvSpPr>
        <p:spPr>
          <a:xfrm>
            <a:off x="324823" y="1545527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n-IN" sz="4267" kern="0" dirty="0">
                <a:solidFill>
                  <a:schemeClr val="tx1">
                    <a:lumMod val="65000"/>
                  </a:schemeClr>
                </a:solidFill>
                <a:latin typeface="EYInterstate Light" panose="02000506000000020004" pitchFamily="2" charset="0"/>
                <a:cs typeface="Arial"/>
                <a:sym typeface="Arial"/>
              </a:rPr>
              <a:t>0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37AA954-C5AC-44D1-9A36-F46B272B1EEF}"/>
              </a:ext>
            </a:extLst>
          </p:cNvPr>
          <p:cNvSpPr txBox="1"/>
          <p:nvPr/>
        </p:nvSpPr>
        <p:spPr>
          <a:xfrm>
            <a:off x="1234488" y="1690511"/>
            <a:ext cx="3073896" cy="268200"/>
          </a:xfrm>
          <a:prstGeom prst="rect">
            <a:avLst/>
          </a:prstGeom>
          <a:noFill/>
        </p:spPr>
        <p:txBody>
          <a:bodyPr wrap="square" lIns="37775" tIns="37775" rIns="37775" bIns="37775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s-ES" sz="1467" kern="0" dirty="0">
                <a:solidFill>
                  <a:schemeClr val="tx1">
                    <a:lumMod val="65000"/>
                  </a:schemeClr>
                </a:solidFill>
                <a:latin typeface="EYInterstate Light" panose="02000506000000020004" pitchFamily="2" charset="0"/>
                <a:cs typeface="Arial"/>
                <a:sym typeface="Arial"/>
              </a:rPr>
              <a:t>Model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7ACDF1-255D-4DCC-A589-D1F135432D6E}"/>
              </a:ext>
            </a:extLst>
          </p:cNvPr>
          <p:cNvSpPr txBox="1"/>
          <p:nvPr/>
        </p:nvSpPr>
        <p:spPr>
          <a:xfrm>
            <a:off x="324823" y="3143803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n-IN" sz="4267" kern="0" dirty="0">
                <a:solidFill>
                  <a:srgbClr val="FFE600"/>
                </a:solidFill>
                <a:latin typeface="EYInterstate Light" panose="02000506000000020004" pitchFamily="2" charset="0"/>
                <a:cs typeface="Arial"/>
                <a:sym typeface="Arial"/>
              </a:rPr>
              <a:t>0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9B14C04-4059-4E5D-A5F6-1CCCBA6E5C16}"/>
              </a:ext>
            </a:extLst>
          </p:cNvPr>
          <p:cNvSpPr txBox="1"/>
          <p:nvPr/>
        </p:nvSpPr>
        <p:spPr>
          <a:xfrm>
            <a:off x="1234488" y="3283002"/>
            <a:ext cx="3073896" cy="268200"/>
          </a:xfrm>
          <a:prstGeom prst="rect">
            <a:avLst/>
          </a:prstGeom>
          <a:noFill/>
        </p:spPr>
        <p:txBody>
          <a:bodyPr wrap="square" lIns="37775" tIns="37775" rIns="37775" bIns="37775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s-ES" sz="1467" kern="0" dirty="0">
                <a:latin typeface="EYInterstate Light" panose="02000506000000020004" pitchFamily="2" charset="0"/>
                <a:cs typeface="Arial"/>
                <a:sym typeface="Arial"/>
              </a:rPr>
              <a:t>Visualización</a:t>
            </a:r>
          </a:p>
        </p:txBody>
      </p:sp>
    </p:spTree>
    <p:extLst>
      <p:ext uri="{BB962C8B-B14F-4D97-AF65-F5344CB8AC3E}">
        <p14:creationId xmlns:p14="http://schemas.microsoft.com/office/powerpoint/2010/main" val="12243174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A7677E7-D8A1-4BE8-9A6F-CDA67C35A38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02" r="6165" b="34661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5695A64-94D1-4BF2-B10E-6BA44AB6AE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808520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5695A64-94D1-4BF2-B10E-6BA44AB6AE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ángulo 3">
            <a:extLst>
              <a:ext uri="{FF2B5EF4-FFF2-40B4-BE49-F238E27FC236}">
                <a16:creationId xmlns:a16="http://schemas.microsoft.com/office/drawing/2014/main" id="{8F543AB0-D233-4A76-AA16-7940EA4AFA00}"/>
              </a:ext>
            </a:extLst>
          </p:cNvPr>
          <p:cNvSpPr/>
          <p:nvPr/>
        </p:nvSpPr>
        <p:spPr>
          <a:xfrm>
            <a:off x="-1" y="-12226"/>
            <a:ext cx="4786489" cy="6870225"/>
          </a:xfrm>
          <a:prstGeom prst="rect">
            <a:avLst/>
          </a:prstGeom>
          <a:solidFill>
            <a:srgbClr val="000000">
              <a:alpha val="80000"/>
            </a:srgbClr>
          </a:solidFill>
          <a:ln w="285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  <a:defRPr/>
            </a:pPr>
            <a:endParaRPr lang="es-ES" sz="1600" kern="0" dirty="0">
              <a:solidFill>
                <a:prstClr val="white"/>
              </a:solidFill>
              <a:latin typeface="Calibri" panose="020F0502020204030204"/>
              <a:sym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1BD6EA-139F-4425-BB63-1FDFD6EC17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817" y="5477933"/>
            <a:ext cx="932895" cy="1071168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B4C2BF7E-9BF1-4AC5-B9EC-414B84413EAD}"/>
              </a:ext>
            </a:extLst>
          </p:cNvPr>
          <p:cNvSpPr txBox="1"/>
          <p:nvPr/>
        </p:nvSpPr>
        <p:spPr>
          <a:xfrm>
            <a:off x="324823" y="2344680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n-IN" sz="4267" kern="0" dirty="0">
                <a:solidFill>
                  <a:srgbClr val="E7E6E6">
                    <a:lumMod val="75000"/>
                  </a:srgbClr>
                </a:solidFill>
                <a:latin typeface="EYInterstate Light" panose="02000506000000020004" pitchFamily="2" charset="0"/>
                <a:cs typeface="Arial"/>
                <a:sym typeface="Arial"/>
              </a:rPr>
              <a:t>03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0DA8AEE-89A6-45D7-87EC-1BE917E937CB}"/>
              </a:ext>
            </a:extLst>
          </p:cNvPr>
          <p:cNvSpPr txBox="1"/>
          <p:nvPr/>
        </p:nvSpPr>
        <p:spPr>
          <a:xfrm>
            <a:off x="1234488" y="2489665"/>
            <a:ext cx="3073896" cy="268200"/>
          </a:xfrm>
          <a:prstGeom prst="rect">
            <a:avLst/>
          </a:prstGeom>
          <a:noFill/>
        </p:spPr>
        <p:txBody>
          <a:bodyPr wrap="square" lIns="37775" tIns="37775" rIns="37775" bIns="37775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s-ES" sz="1467" kern="0" dirty="0">
                <a:solidFill>
                  <a:srgbClr val="E7E6E6">
                    <a:lumMod val="75000"/>
                  </a:srgbClr>
                </a:solidFill>
                <a:latin typeface="EYInterstate Light" panose="02000506000000020004" pitchFamily="2" charset="0"/>
                <a:cs typeface="Arial"/>
                <a:sym typeface="Arial"/>
              </a:rPr>
              <a:t>Análisi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6533B73-7B2D-4B37-8CD4-3F6C71FA819A}"/>
              </a:ext>
            </a:extLst>
          </p:cNvPr>
          <p:cNvSpPr txBox="1"/>
          <p:nvPr/>
        </p:nvSpPr>
        <p:spPr>
          <a:xfrm>
            <a:off x="324823" y="746341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lnSpc>
                <a:spcPct val="85000"/>
              </a:lnSpc>
              <a:spcAft>
                <a:spcPts val="472"/>
              </a:spcAft>
              <a:buClr>
                <a:srgbClr val="FFE600"/>
              </a:buClr>
              <a:buSzPct val="70000"/>
              <a:buNone/>
              <a:tabLst/>
              <a:defRPr kumimoji="0" sz="3200" kern="0" spc="0" normalizeH="0" baseline="0">
                <a:ln>
                  <a:noFill/>
                </a:ln>
                <a:solidFill>
                  <a:srgbClr val="FFD400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1pPr>
          </a:lstStyle>
          <a:p>
            <a:r>
              <a:rPr lang="en-IN" sz="4267" dirty="0"/>
              <a:t>0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FE1FC68-0500-4894-9378-6D94921CAD6E}"/>
              </a:ext>
            </a:extLst>
          </p:cNvPr>
          <p:cNvSpPr txBox="1"/>
          <p:nvPr/>
        </p:nvSpPr>
        <p:spPr>
          <a:xfrm>
            <a:off x="1234488" y="891325"/>
            <a:ext cx="3552000" cy="268200"/>
          </a:xfrm>
          <a:prstGeom prst="rect">
            <a:avLst/>
          </a:prstGeom>
          <a:noFill/>
        </p:spPr>
        <p:txBody>
          <a:bodyPr wrap="square" lIns="37775" tIns="37775" rIns="37775" bIns="37775" rtlCol="0" anchor="ctr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lnSpc>
                <a:spcPct val="85000"/>
              </a:lnSpc>
              <a:spcAft>
                <a:spcPts val="472"/>
              </a:spcAft>
              <a:buClr>
                <a:srgbClr val="FFE600"/>
              </a:buClr>
              <a:buSzPct val="70000"/>
              <a:buNone/>
              <a:tabLst/>
              <a:defRPr kumimoji="0" sz="1100" b="1" kern="0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1pPr>
          </a:lstStyle>
          <a:p>
            <a:r>
              <a:rPr lang="es-ES" sz="1467" dirty="0">
                <a:solidFill>
                  <a:schemeClr val="bg1"/>
                </a:solidFill>
                <a:cs typeface="Arial"/>
                <a:sym typeface="Arial"/>
              </a:rPr>
              <a:t>Contexto</a:t>
            </a:r>
            <a:endParaRPr lang="es-ES" sz="1467" dirty="0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2EDD53A-155F-4C19-B612-A99B0B02B890}"/>
              </a:ext>
            </a:extLst>
          </p:cNvPr>
          <p:cNvSpPr txBox="1"/>
          <p:nvPr/>
        </p:nvSpPr>
        <p:spPr>
          <a:xfrm>
            <a:off x="324823" y="1545527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n-IN" sz="4267" kern="0" dirty="0">
                <a:solidFill>
                  <a:srgbClr val="E7E6E6">
                    <a:lumMod val="75000"/>
                  </a:srgbClr>
                </a:solidFill>
                <a:latin typeface="EYInterstate Light" panose="02000506000000020004" pitchFamily="2" charset="0"/>
                <a:cs typeface="Arial"/>
                <a:sym typeface="Arial"/>
              </a:rPr>
              <a:t>0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37AA954-C5AC-44D1-9A36-F46B272B1EEF}"/>
              </a:ext>
            </a:extLst>
          </p:cNvPr>
          <p:cNvSpPr txBox="1"/>
          <p:nvPr/>
        </p:nvSpPr>
        <p:spPr>
          <a:xfrm>
            <a:off x="1234488" y="1690511"/>
            <a:ext cx="3073896" cy="268200"/>
          </a:xfrm>
          <a:prstGeom prst="rect">
            <a:avLst/>
          </a:prstGeom>
          <a:noFill/>
        </p:spPr>
        <p:txBody>
          <a:bodyPr wrap="square" lIns="37775" tIns="37775" rIns="37775" bIns="37775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s-ES" sz="1467" kern="0" dirty="0">
                <a:solidFill>
                  <a:srgbClr val="E7E6E6">
                    <a:lumMod val="75000"/>
                  </a:srgbClr>
                </a:solidFill>
                <a:latin typeface="EYInterstate Light" panose="02000506000000020004" pitchFamily="2" charset="0"/>
                <a:cs typeface="Arial"/>
                <a:sym typeface="Arial"/>
              </a:rPr>
              <a:t>Model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7ACDF1-255D-4DCC-A589-D1F135432D6E}"/>
              </a:ext>
            </a:extLst>
          </p:cNvPr>
          <p:cNvSpPr txBox="1"/>
          <p:nvPr/>
        </p:nvSpPr>
        <p:spPr>
          <a:xfrm>
            <a:off x="324823" y="3143803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n-IN" sz="4267" kern="0" dirty="0">
                <a:solidFill>
                  <a:srgbClr val="E7E6E6">
                    <a:lumMod val="75000"/>
                  </a:srgbClr>
                </a:solidFill>
                <a:latin typeface="EYInterstate Light" panose="02000506000000020004" pitchFamily="2" charset="0"/>
                <a:cs typeface="Arial"/>
                <a:sym typeface="Arial"/>
              </a:rPr>
              <a:t>0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9B14C04-4059-4E5D-A5F6-1CCCBA6E5C16}"/>
              </a:ext>
            </a:extLst>
          </p:cNvPr>
          <p:cNvSpPr txBox="1"/>
          <p:nvPr/>
        </p:nvSpPr>
        <p:spPr>
          <a:xfrm>
            <a:off x="1234488" y="3283002"/>
            <a:ext cx="3073896" cy="268200"/>
          </a:xfrm>
          <a:prstGeom prst="rect">
            <a:avLst/>
          </a:prstGeom>
          <a:noFill/>
        </p:spPr>
        <p:txBody>
          <a:bodyPr wrap="square" lIns="37775" tIns="37775" rIns="37775" bIns="37775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s-ES" sz="1467" kern="0" dirty="0">
                <a:solidFill>
                  <a:srgbClr val="E7E6E6">
                    <a:lumMod val="75000"/>
                  </a:srgbClr>
                </a:solidFill>
                <a:latin typeface="EYInterstate Light" panose="02000506000000020004" pitchFamily="2" charset="0"/>
                <a:cs typeface="Arial"/>
                <a:sym typeface="Arial"/>
              </a:rPr>
              <a:t>Visualización</a:t>
            </a:r>
          </a:p>
        </p:txBody>
      </p:sp>
    </p:spTree>
    <p:extLst>
      <p:ext uri="{BB962C8B-B14F-4D97-AF65-F5344CB8AC3E}">
        <p14:creationId xmlns:p14="http://schemas.microsoft.com/office/powerpoint/2010/main" val="16491475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B512FE-A3C1-4695-9B43-A130AB5F96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681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B512FE-A3C1-4695-9B43-A130AB5F9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6">
            <a:extLst>
              <a:ext uri="{FF2B5EF4-FFF2-40B4-BE49-F238E27FC236}">
                <a16:creationId xmlns:a16="http://schemas.microsoft.com/office/drawing/2014/main" id="{2A8F22E4-E887-4A4D-8370-FBEF16D8C9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" y="58580"/>
            <a:ext cx="65" cy="492443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defRPr/>
            </a:pPr>
            <a:br>
              <a:rPr lang="es-ES" altLang="es-ES" sz="800" kern="0" dirty="0">
                <a:solidFill>
                  <a:srgbClr val="202124"/>
                </a:solidFill>
                <a:cs typeface="Arial" panose="020B0604020202020204" pitchFamily="34" charset="0"/>
                <a:sym typeface="Arial"/>
              </a:rPr>
            </a:br>
            <a:endParaRPr lang="es-ES" altLang="es-ES" sz="2400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2E65263F-204F-4F88-96EB-120212171C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" y="132954"/>
            <a:ext cx="65" cy="343692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altLang="es-ES" sz="2400" kern="0" dirty="0">
              <a:solidFill>
                <a:srgbClr val="FFFFFF"/>
              </a:solidFill>
              <a:latin typeface="Arial" panose="020B0604020202020204" pitchFamily="34" charset="0"/>
              <a:cs typeface="Arial"/>
              <a:sym typeface="Arial"/>
            </a:endParaRPr>
          </a:p>
        </p:txBody>
      </p:sp>
      <p:sp>
        <p:nvSpPr>
          <p:cNvPr id="99" name="Date Placeholder 3">
            <a:extLst>
              <a:ext uri="{FF2B5EF4-FFF2-40B4-BE49-F238E27FC236}">
                <a16:creationId xmlns:a16="http://schemas.microsoft.com/office/drawing/2014/main" id="{A9D86480-C18E-41D1-844F-EF0454F9E59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28883" y="6316009"/>
            <a:ext cx="2353519" cy="179905"/>
          </a:xfrm>
        </p:spPr>
        <p:txBody>
          <a:bodyPr/>
          <a:lstStyle/>
          <a:p>
            <a:pPr defTabSz="913889">
              <a:buClr>
                <a:srgbClr val="000000"/>
              </a:buClr>
              <a:defRPr/>
            </a:pPr>
            <a:r>
              <a:rPr lang="en-IN" dirty="0">
                <a:solidFill>
                  <a:srgbClr val="000000"/>
                </a:solidFill>
                <a:sym typeface="Arial"/>
              </a:rPr>
              <a:t>2022</a:t>
            </a:r>
          </a:p>
          <a:p>
            <a:pPr defTabSz="913889">
              <a:buClr>
                <a:srgbClr val="000000"/>
              </a:buClr>
              <a:defRPr/>
            </a:pPr>
            <a:endParaRPr lang="en-IN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3" name="Slide Number Placeholder 4">
            <a:extLst>
              <a:ext uri="{FF2B5EF4-FFF2-40B4-BE49-F238E27FC236}">
                <a16:creationId xmlns:a16="http://schemas.microsoft.com/office/drawing/2014/main" id="{6567ADC6-156A-4975-978F-37A5CD09F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9682" y="6495913"/>
            <a:ext cx="662721" cy="180000"/>
          </a:xfrm>
        </p:spPr>
        <p:txBody>
          <a:bodyPr/>
          <a:lstStyle/>
          <a:p>
            <a:pPr>
              <a:buClr>
                <a:srgbClr val="000000"/>
              </a:buClr>
              <a:defRPr/>
            </a:pPr>
            <a:fld id="{F1BC30E3-FFE5-4B91-AA19-87A149EBB9EE}" type="slidenum">
              <a:rPr lang="es-ES">
                <a:solidFill>
                  <a:srgbClr val="2E2E38"/>
                </a:solidFill>
                <a:sym typeface="Arial"/>
              </a:rPr>
              <a:pPr>
                <a:buClr>
                  <a:srgbClr val="000000"/>
                </a:buClr>
                <a:defRPr/>
              </a:pPr>
              <a:t>3</a:t>
            </a:fld>
            <a:endParaRPr lang="es-ES" dirty="0">
              <a:solidFill>
                <a:srgbClr val="2E2E38"/>
              </a:solidFill>
              <a:sym typeface="Arial"/>
            </a:endParaRPr>
          </a:p>
        </p:txBody>
      </p:sp>
      <p:sp>
        <p:nvSpPr>
          <p:cNvPr id="41" name="Services design">
            <a:extLst>
              <a:ext uri="{FF2B5EF4-FFF2-40B4-BE49-F238E27FC236}">
                <a16:creationId xmlns:a16="http://schemas.microsoft.com/office/drawing/2014/main" id="{E718C394-D114-45D4-9B40-710D35A10EFF}"/>
              </a:ext>
            </a:extLst>
          </p:cNvPr>
          <p:cNvSpPr/>
          <p:nvPr/>
        </p:nvSpPr>
        <p:spPr>
          <a:xfrm>
            <a:off x="537011" y="220701"/>
            <a:ext cx="11368712" cy="57983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0959" rIns="60959">
            <a:spAutoFit/>
          </a:bodyPr>
          <a:lstStyle>
            <a:lvl1pPr algn="l" defTabSz="457200">
              <a:lnSpc>
                <a:spcPts val="3200"/>
              </a:lnSpc>
              <a:defRPr sz="2400" spc="-144">
                <a:solidFill>
                  <a:srgbClr val="262626"/>
                </a:solidFill>
                <a:latin typeface="+mj-lt"/>
                <a:ea typeface="+mj-ea"/>
                <a:cs typeface="+mj-cs"/>
                <a:sym typeface="EYInterstate Bold"/>
              </a:defRPr>
            </a:lvl1pPr>
          </a:lstStyle>
          <a:p>
            <a:pPr defTabSz="901467">
              <a:lnSpc>
                <a:spcPts val="4267"/>
              </a:lnSpc>
              <a:buClr>
                <a:srgbClr val="000000"/>
              </a:buClr>
              <a:defRPr/>
            </a:pPr>
            <a:r>
              <a:rPr lang="es-ES_tradnl" b="1" spc="-192" dirty="0">
                <a:solidFill>
                  <a:srgbClr val="000000"/>
                </a:solidFill>
                <a:latin typeface="EYInterstate" panose="02000503020000020004" pitchFamily="2" charset="0"/>
                <a:sym typeface="Arial"/>
              </a:rPr>
              <a:t>Contexto </a:t>
            </a:r>
            <a:endParaRPr b="1" spc="-192" dirty="0">
              <a:solidFill>
                <a:srgbClr val="000000"/>
              </a:solidFill>
              <a:latin typeface="EYInterstate" panose="02000503020000020004" pitchFamily="2" charset="0"/>
              <a:sym typeface="Arial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171268DE-B689-4A5E-B6B6-CFF5AC6A44EB}"/>
              </a:ext>
            </a:extLst>
          </p:cNvPr>
          <p:cNvSpPr/>
          <p:nvPr/>
        </p:nvSpPr>
        <p:spPr>
          <a:xfrm>
            <a:off x="609600" y="1034843"/>
            <a:ext cx="10972801" cy="400827"/>
          </a:xfrm>
          <a:prstGeom prst="rect">
            <a:avLst/>
          </a:prstGeom>
          <a:noFill/>
        </p:spPr>
        <p:txBody>
          <a:bodyPr wrap="square" lIns="0" tIns="3126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1219170">
              <a:spcBef>
                <a:spcPts val="400"/>
              </a:spcBef>
              <a:buClr>
                <a:srgbClr val="000000"/>
              </a:buClr>
              <a:defRPr/>
            </a:pPr>
            <a:endParaRPr lang="es-ES" sz="1333" dirty="0">
              <a:solidFill>
                <a:srgbClr val="000000"/>
              </a:solidFill>
              <a:latin typeface="EYInterstate" panose="02000503020000020004" pitchFamily="2" charset="0"/>
              <a:cs typeface="Calibri" panose="020F0502020204030204" pitchFamily="34" charset="0"/>
              <a:sym typeface="Arial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FD68FA6-6254-4FA6-965D-C9C0659B3A14}"/>
              </a:ext>
            </a:extLst>
          </p:cNvPr>
          <p:cNvGrpSpPr/>
          <p:nvPr/>
        </p:nvGrpSpPr>
        <p:grpSpPr>
          <a:xfrm>
            <a:off x="639176" y="1189391"/>
            <a:ext cx="10943225" cy="2584165"/>
            <a:chOff x="457200" y="1065461"/>
            <a:chExt cx="8207419" cy="1938123"/>
          </a:xfrm>
        </p:grpSpPr>
        <p:sp>
          <p:nvSpPr>
            <p:cNvPr id="86" name="Arrow: Pentagon 85">
              <a:extLst>
                <a:ext uri="{FF2B5EF4-FFF2-40B4-BE49-F238E27FC236}">
                  <a16:creationId xmlns:a16="http://schemas.microsoft.com/office/drawing/2014/main" id="{466D120E-DFA3-4184-8247-82E190AB42B6}"/>
                </a:ext>
              </a:extLst>
            </p:cNvPr>
            <p:cNvSpPr/>
            <p:nvPr/>
          </p:nvSpPr>
          <p:spPr>
            <a:xfrm>
              <a:off x="465500" y="1065461"/>
              <a:ext cx="8199119" cy="294363"/>
            </a:xfrm>
            <a:prstGeom prst="homePlate">
              <a:avLst/>
            </a:prstGeom>
            <a:solidFill>
              <a:srgbClr val="0A302F"/>
            </a:solidFill>
            <a:ln w="201168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lnSpc>
                  <a:spcPct val="85000"/>
                </a:lnSpc>
                <a:spcAft>
                  <a:spcPts val="800"/>
                </a:spcAft>
                <a:buClr>
                  <a:srgbClr val="27ACAA"/>
                </a:buClr>
                <a:buSzPct val="70000"/>
                <a:defRPr/>
              </a:pPr>
              <a:r>
                <a:rPr lang="es-ES" sz="1400" b="1" i="1" kern="0" dirty="0">
                  <a:solidFill>
                    <a:srgbClr val="FFFFFF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Diseñando el modelo </a:t>
              </a:r>
            </a:p>
          </p:txBody>
        </p:sp>
        <p:sp>
          <p:nvSpPr>
            <p:cNvPr id="87" name="Arrow: Chevron 86">
              <a:extLst>
                <a:ext uri="{FF2B5EF4-FFF2-40B4-BE49-F238E27FC236}">
                  <a16:creationId xmlns:a16="http://schemas.microsoft.com/office/drawing/2014/main" id="{9813F723-1ED4-41E8-BA39-00091A941190}"/>
                </a:ext>
              </a:extLst>
            </p:cNvPr>
            <p:cNvSpPr/>
            <p:nvPr/>
          </p:nvSpPr>
          <p:spPr>
            <a:xfrm>
              <a:off x="3157200" y="1494822"/>
              <a:ext cx="2736000" cy="300618"/>
            </a:xfrm>
            <a:prstGeom prst="chevron">
              <a:avLst/>
            </a:prstGeom>
            <a:solidFill>
              <a:srgbClr val="0F4948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219170">
                <a:buClr>
                  <a:srgbClr val="000000"/>
                </a:buClr>
                <a:defRPr/>
              </a:pPr>
              <a:r>
                <a:rPr lang="es-ES" sz="1200" b="1" i="1" kern="0" dirty="0">
                  <a:solidFill>
                    <a:srgbClr val="FFFFFF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Obtención del </a:t>
              </a:r>
              <a:r>
                <a:rPr lang="es-ES" sz="1200" b="1" i="1" kern="0" dirty="0" err="1">
                  <a:solidFill>
                    <a:srgbClr val="FFFFFF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Dataset</a:t>
              </a:r>
              <a:endParaRPr lang="es-ES" sz="1200" b="1" i="1" kern="0" dirty="0">
                <a:solidFill>
                  <a:srgbClr val="FFFFFF"/>
                </a:solidFill>
                <a:latin typeface="EYInterstate Light" panose="02000506000000020004" pitchFamily="2" charset="0"/>
                <a:cs typeface="Arial"/>
                <a:sym typeface="Arial"/>
              </a:endParaRPr>
            </a:p>
          </p:txBody>
        </p:sp>
        <p:sp>
          <p:nvSpPr>
            <p:cNvPr id="88" name="Arrow: Pentagon 87">
              <a:extLst>
                <a:ext uri="{FF2B5EF4-FFF2-40B4-BE49-F238E27FC236}">
                  <a16:creationId xmlns:a16="http://schemas.microsoft.com/office/drawing/2014/main" id="{13F239D1-203D-435B-B49A-CA0F1532523C}"/>
                </a:ext>
              </a:extLst>
            </p:cNvPr>
            <p:cNvSpPr/>
            <p:nvPr/>
          </p:nvSpPr>
          <p:spPr>
            <a:xfrm>
              <a:off x="457200" y="1496632"/>
              <a:ext cx="2736000" cy="300619"/>
            </a:xfrm>
            <a:prstGeom prst="homePlate">
              <a:avLst/>
            </a:prstGeom>
            <a:solidFill>
              <a:srgbClr val="0A302F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219170">
                <a:buClr>
                  <a:srgbClr val="000000"/>
                </a:buClr>
                <a:defRPr/>
              </a:pPr>
              <a:r>
                <a:rPr lang="es-ES" sz="1200" b="1" i="1" kern="0" dirty="0">
                  <a:solidFill>
                    <a:srgbClr val="FFFFFF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Objetivo</a:t>
              </a:r>
            </a:p>
          </p:txBody>
        </p:sp>
        <p:sp>
          <p:nvSpPr>
            <p:cNvPr id="89" name="Arrow: Chevron 88">
              <a:extLst>
                <a:ext uri="{FF2B5EF4-FFF2-40B4-BE49-F238E27FC236}">
                  <a16:creationId xmlns:a16="http://schemas.microsoft.com/office/drawing/2014/main" id="{640B9289-629C-4638-BE4A-E9A2A514BAF7}"/>
                </a:ext>
              </a:extLst>
            </p:cNvPr>
            <p:cNvSpPr/>
            <p:nvPr/>
          </p:nvSpPr>
          <p:spPr>
            <a:xfrm>
              <a:off x="5920320" y="1494822"/>
              <a:ext cx="2736000" cy="300618"/>
            </a:xfrm>
            <a:prstGeom prst="chevron">
              <a:avLst/>
            </a:prstGeom>
            <a:solidFill>
              <a:srgbClr val="156967"/>
            </a:solidFill>
            <a:ln>
              <a:noFill/>
            </a:ln>
            <a:effectLst/>
          </p:spPr>
          <p:txBody>
            <a:bodyPr lIns="48000" rIns="48000" rtlCol="0" anchor="ctr"/>
            <a:lstStyle/>
            <a:p>
              <a:pPr algn="ctr" defTabSz="1219170">
                <a:buClr>
                  <a:srgbClr val="000000"/>
                </a:buClr>
                <a:defRPr/>
              </a:pPr>
              <a:r>
                <a:rPr lang="es-ES" sz="1200" b="1" i="1" kern="0" dirty="0" err="1">
                  <a:solidFill>
                    <a:srgbClr val="FFFFFF"/>
                  </a:solidFill>
                  <a:latin typeface="EYInterstate Light" panose="02000506000000020004" pitchFamily="2" charset="0"/>
                  <a:cs typeface="Arial"/>
                  <a:sym typeface="Arial"/>
                </a:rPr>
                <a:t>Dataset</a:t>
              </a:r>
              <a:endParaRPr lang="es-ES" sz="1200" b="1" i="1" kern="0" dirty="0">
                <a:solidFill>
                  <a:srgbClr val="FFFFFF"/>
                </a:solidFill>
                <a:latin typeface="EYInterstate Light" panose="02000506000000020004" pitchFamily="2" charset="0"/>
                <a:cs typeface="Arial"/>
                <a:sym typeface="Arial"/>
              </a:endParaRPr>
            </a:p>
          </p:txBody>
        </p:sp>
        <p:sp>
          <p:nvSpPr>
            <p:cNvPr id="90" name="Rectángulo 36">
              <a:extLst>
                <a:ext uri="{FF2B5EF4-FFF2-40B4-BE49-F238E27FC236}">
                  <a16:creationId xmlns:a16="http://schemas.microsoft.com/office/drawing/2014/main" id="{E7200393-CB4D-4277-906B-0D0518FC741D}"/>
                </a:ext>
              </a:extLst>
            </p:cNvPr>
            <p:cNvSpPr/>
            <p:nvPr/>
          </p:nvSpPr>
          <p:spPr>
            <a:xfrm>
              <a:off x="3357425" y="1976197"/>
              <a:ext cx="2335550" cy="100800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340780" indent="-228600" defTabSz="1219170">
                <a:lnSpc>
                  <a:spcPct val="120000"/>
                </a:lnSpc>
                <a:buClr>
                  <a:srgbClr val="000000"/>
                </a:buClr>
                <a:buAutoNum type="arabicPeriod"/>
                <a:defRPr/>
              </a:pPr>
              <a:r>
                <a:rPr lang="es-ES" sz="1067" b="1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Origen</a:t>
              </a:r>
              <a:r>
                <a:rPr lang="es-ES" sz="1067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: Center </a:t>
              </a:r>
              <a:r>
                <a:rPr lang="es-ES" sz="1067" kern="0" dirty="0" err="1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for</a:t>
              </a:r>
              <a:r>
                <a:rPr lang="es-ES" sz="1067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 </a:t>
              </a:r>
              <a:r>
                <a:rPr lang="es-ES" sz="1067" kern="0" dirty="0" err="1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Deasease</a:t>
              </a:r>
              <a:r>
                <a:rPr lang="es-ES" sz="1067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 Control and </a:t>
              </a:r>
              <a:r>
                <a:rPr lang="es-ES" sz="1067" kern="0" dirty="0" err="1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Prevention</a:t>
              </a:r>
              <a:r>
                <a:rPr lang="es-ES" sz="1067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 (USA)</a:t>
              </a:r>
            </a:p>
            <a:p>
              <a:pPr marL="340780" indent="-228600" defTabSz="1219170">
                <a:lnSpc>
                  <a:spcPct val="120000"/>
                </a:lnSpc>
                <a:buClr>
                  <a:srgbClr val="000000"/>
                </a:buClr>
                <a:buAutoNum type="arabicPeriod"/>
                <a:defRPr/>
              </a:pPr>
              <a:endParaRPr lang="es-ES" sz="1067" kern="0" dirty="0">
                <a:solidFill>
                  <a:srgbClr val="2E2E38"/>
                </a:solidFill>
                <a:latin typeface="EYInterstate" panose="02000503020000020004" pitchFamily="2" charset="0"/>
                <a:sym typeface="Arial"/>
              </a:endParaRPr>
            </a:p>
            <a:p>
              <a:pPr marL="340780" indent="-228600" defTabSz="1219170">
                <a:lnSpc>
                  <a:spcPct val="120000"/>
                </a:lnSpc>
                <a:buClr>
                  <a:srgbClr val="000000"/>
                </a:buClr>
                <a:buAutoNum type="arabicPeriod"/>
                <a:defRPr/>
              </a:pPr>
              <a:r>
                <a:rPr lang="es-ES" sz="1067" b="1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BRFSS</a:t>
              </a:r>
              <a:r>
                <a:rPr lang="es-ES" sz="1067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 (</a:t>
              </a:r>
              <a:r>
                <a:rPr lang="es-ES" sz="1067" kern="0" dirty="0" err="1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Behavioral</a:t>
              </a:r>
              <a:r>
                <a:rPr lang="es-ES" sz="1067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 </a:t>
              </a:r>
              <a:r>
                <a:rPr lang="es-ES" sz="1067" kern="0" dirty="0" err="1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Risk</a:t>
              </a:r>
              <a:r>
                <a:rPr lang="es-ES" sz="1067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 Factor </a:t>
              </a:r>
              <a:r>
                <a:rPr lang="es-ES" sz="1067" kern="0" dirty="0" err="1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Survellaince</a:t>
              </a:r>
              <a:r>
                <a:rPr lang="es-ES" sz="1067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 </a:t>
              </a:r>
              <a:r>
                <a:rPr lang="es-ES" sz="1067" kern="0" dirty="0" err="1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Systema</a:t>
              </a:r>
              <a:r>
                <a:rPr lang="es-ES" sz="1067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)</a:t>
              </a:r>
            </a:p>
          </p:txBody>
        </p:sp>
        <p:sp>
          <p:nvSpPr>
            <p:cNvPr id="94" name="Rectángulo 36">
              <a:extLst>
                <a:ext uri="{FF2B5EF4-FFF2-40B4-BE49-F238E27FC236}">
                  <a16:creationId xmlns:a16="http://schemas.microsoft.com/office/drawing/2014/main" id="{A2327FAB-D131-48FE-9FE4-97CE3F1BFBB0}"/>
                </a:ext>
              </a:extLst>
            </p:cNvPr>
            <p:cNvSpPr/>
            <p:nvPr/>
          </p:nvSpPr>
          <p:spPr>
            <a:xfrm>
              <a:off x="545451" y="1976197"/>
              <a:ext cx="2247413" cy="100800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355591" indent="-243411" defTabSz="1219170">
                <a:lnSpc>
                  <a:spcPct val="120000"/>
                </a:lnSpc>
                <a:buClr>
                  <a:srgbClr val="000000"/>
                </a:buClr>
                <a:buFont typeface="+mj-lt"/>
                <a:buAutoNum type="arabicPeriod"/>
                <a:defRPr/>
              </a:pPr>
              <a:r>
                <a:rPr lang="es-ES" sz="1067" b="1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Enfermedades coronarias </a:t>
              </a:r>
              <a:r>
                <a:rPr lang="es-ES" sz="1067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= 1º causa de muerte a nivel mundial (17,5 M)</a:t>
              </a:r>
            </a:p>
            <a:p>
              <a:pPr marL="112180" defTabSz="1219170">
                <a:lnSpc>
                  <a:spcPct val="120000"/>
                </a:lnSpc>
                <a:buClr>
                  <a:srgbClr val="000000"/>
                </a:buClr>
                <a:defRPr/>
              </a:pPr>
              <a:endParaRPr lang="es-ES" sz="1067" kern="0" dirty="0">
                <a:solidFill>
                  <a:srgbClr val="2E2E38"/>
                </a:solidFill>
                <a:latin typeface="EYInterstate" panose="02000503020000020004" pitchFamily="2" charset="0"/>
                <a:sym typeface="Arial"/>
              </a:endParaRPr>
            </a:p>
            <a:p>
              <a:pPr marL="355591" indent="-243411" defTabSz="1219170">
                <a:lnSpc>
                  <a:spcPct val="120000"/>
                </a:lnSpc>
                <a:buClr>
                  <a:srgbClr val="000000"/>
                </a:buClr>
                <a:buFont typeface="+mj-lt"/>
                <a:buAutoNum type="arabicPeriod"/>
                <a:defRPr/>
              </a:pPr>
              <a:r>
                <a:rPr lang="es-ES" sz="1067" b="1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Objetivo</a:t>
              </a:r>
              <a:r>
                <a:rPr lang="es-ES" sz="1067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: </a:t>
              </a:r>
              <a:r>
                <a:rPr lang="es-ES" sz="1067" kern="0" dirty="0">
                  <a:solidFill>
                    <a:srgbClr val="2E2E38"/>
                  </a:solidFill>
                  <a:latin typeface="EYInterstate" panose="02000503020000020004" pitchFamily="2" charset="0"/>
                </a:rPr>
                <a:t>construir un modelo que consiga predecir si una persona padece o no de una enfermedad coronaria o angina</a:t>
              </a:r>
              <a:endParaRPr lang="es-ES" sz="1067" kern="0" dirty="0">
                <a:solidFill>
                  <a:srgbClr val="2E2E38"/>
                </a:solidFill>
                <a:latin typeface="EYInterstate" panose="02000503020000020004" pitchFamily="2" charset="0"/>
                <a:sym typeface="Arial"/>
              </a:endParaRPr>
            </a:p>
          </p:txBody>
        </p:sp>
        <p:sp>
          <p:nvSpPr>
            <p:cNvPr id="96" name="Rectángulo 36">
              <a:extLst>
                <a:ext uri="{FF2B5EF4-FFF2-40B4-BE49-F238E27FC236}">
                  <a16:creationId xmlns:a16="http://schemas.microsoft.com/office/drawing/2014/main" id="{E80FF68F-A684-48CB-AE69-C7747EB31D43}"/>
                </a:ext>
              </a:extLst>
            </p:cNvPr>
            <p:cNvSpPr/>
            <p:nvPr/>
          </p:nvSpPr>
          <p:spPr>
            <a:xfrm>
              <a:off x="6021310" y="1995584"/>
              <a:ext cx="2394790" cy="100800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355591" indent="-243411" defTabSz="1219170">
                <a:lnSpc>
                  <a:spcPct val="120000"/>
                </a:lnSpc>
                <a:buClr>
                  <a:srgbClr val="000000"/>
                </a:buClr>
                <a:buFont typeface="+mj-lt"/>
                <a:buAutoNum type="arabicPeriod"/>
                <a:defRPr/>
              </a:pPr>
              <a:r>
                <a:rPr lang="es-ES" sz="1067" b="1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Información: </a:t>
              </a:r>
              <a:r>
                <a:rPr lang="es-ES" sz="1067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Encuesta de 2020 sobre 279 variables relacionadas con la salud de personas de 50 estados </a:t>
              </a:r>
            </a:p>
            <a:p>
              <a:pPr marL="355591" indent="-243411" defTabSz="1219170">
                <a:lnSpc>
                  <a:spcPct val="120000"/>
                </a:lnSpc>
                <a:buClr>
                  <a:srgbClr val="000000"/>
                </a:buClr>
                <a:buFont typeface="+mj-lt"/>
                <a:buAutoNum type="arabicPeriod"/>
                <a:defRPr/>
              </a:pPr>
              <a:endParaRPr lang="es-ES" sz="1067" kern="0" dirty="0">
                <a:solidFill>
                  <a:srgbClr val="2E2E38"/>
                </a:solidFill>
                <a:latin typeface="EYInterstate" panose="02000503020000020004" pitchFamily="2" charset="0"/>
                <a:sym typeface="Arial"/>
              </a:endParaRPr>
            </a:p>
            <a:p>
              <a:pPr marL="355591" indent="-243411" defTabSz="1219170">
                <a:lnSpc>
                  <a:spcPct val="120000"/>
                </a:lnSpc>
                <a:buClr>
                  <a:srgbClr val="000000"/>
                </a:buClr>
                <a:buFont typeface="+mj-lt"/>
                <a:buAutoNum type="arabicPeriod"/>
                <a:defRPr/>
              </a:pPr>
              <a:r>
                <a:rPr lang="es-ES" sz="1067" b="1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Características</a:t>
              </a:r>
              <a:r>
                <a:rPr lang="es-ES" sz="1067" kern="0" dirty="0">
                  <a:solidFill>
                    <a:srgbClr val="2E2E38"/>
                  </a:solidFill>
                  <a:latin typeface="EYInterstate" panose="02000503020000020004" pitchFamily="2" charset="0"/>
                  <a:sym typeface="Arial"/>
                </a:rPr>
                <a:t>: 401.958 x 279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A829CE9D-138C-4F88-AEE5-843D38566A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44077" y="3773556"/>
            <a:ext cx="9438197" cy="272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2178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7BE23C5B-F74D-4485-95E6-2472FF15E0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9856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7BE23C5B-F74D-4485-95E6-2472FF15E0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B556D7-9B2C-4D5F-B2E2-110F207732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IN"/>
              <a:t>2022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584F89-8F85-4FEA-AFAD-1D6B53825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s-ES" smtClean="0"/>
              <a:pPr/>
              <a:t>4</a:t>
            </a:fld>
            <a:endParaRPr lang="es-ES" dirty="0"/>
          </a:p>
        </p:txBody>
      </p:sp>
      <p:sp>
        <p:nvSpPr>
          <p:cNvPr id="6" name="Rectangle 24">
            <a:extLst>
              <a:ext uri="{FF2B5EF4-FFF2-40B4-BE49-F238E27FC236}">
                <a16:creationId xmlns:a16="http://schemas.microsoft.com/office/drawing/2014/main" id="{CDAA3448-5AB3-4119-8F67-1FFC34EE9FCE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5062" y="1413647"/>
            <a:ext cx="10641876" cy="385586"/>
          </a:xfrm>
          <a:prstGeom prst="rect">
            <a:avLst/>
          </a:prstGeom>
          <a:solidFill>
            <a:srgbClr val="135655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108000" bIns="0" anchor="ctr"/>
          <a:lstStyle/>
          <a:p>
            <a:pPr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000" b="1" dirty="0">
                <a:solidFill>
                  <a:srgbClr val="FFFFFF"/>
                </a:solidFill>
                <a:latin typeface="+mj-lt"/>
              </a:rPr>
              <a:t>Descripción de variables </a:t>
            </a:r>
            <a:endParaRPr kumimoji="0" lang="es-E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580DFB-6CF4-48C2-9D1F-46AE38CDB40E}"/>
              </a:ext>
            </a:extLst>
          </p:cNvPr>
          <p:cNvSpPr/>
          <p:nvPr/>
        </p:nvSpPr>
        <p:spPr>
          <a:xfrm>
            <a:off x="775062" y="1413647"/>
            <a:ext cx="10650583" cy="4577849"/>
          </a:xfrm>
          <a:prstGeom prst="rect">
            <a:avLst/>
          </a:prstGeom>
          <a:noFill/>
          <a:ln w="9525">
            <a:solidFill>
              <a:srgbClr val="33695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" sz="12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5C9C6CE-24D5-4D57-ABAC-1E1942FD9FCF}"/>
              </a:ext>
            </a:extLst>
          </p:cNvPr>
          <p:cNvSpPr/>
          <p:nvPr/>
        </p:nvSpPr>
        <p:spPr>
          <a:xfrm>
            <a:off x="1484408" y="2077092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CADULT1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Si el entrevistado es mayor de 18 años</a:t>
            </a:r>
          </a:p>
        </p:txBody>
      </p:sp>
      <p:sp>
        <p:nvSpPr>
          <p:cNvPr id="17" name="Services design">
            <a:extLst>
              <a:ext uri="{FF2B5EF4-FFF2-40B4-BE49-F238E27FC236}">
                <a16:creationId xmlns:a16="http://schemas.microsoft.com/office/drawing/2014/main" id="{08806493-A77F-458D-A020-31551D9BB943}"/>
              </a:ext>
            </a:extLst>
          </p:cNvPr>
          <p:cNvSpPr/>
          <p:nvPr/>
        </p:nvSpPr>
        <p:spPr>
          <a:xfrm>
            <a:off x="537011" y="220701"/>
            <a:ext cx="11368712" cy="57983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0959" rIns="60959">
            <a:spAutoFit/>
          </a:bodyPr>
          <a:lstStyle>
            <a:lvl1pPr algn="l" defTabSz="457200">
              <a:lnSpc>
                <a:spcPts val="3200"/>
              </a:lnSpc>
              <a:defRPr sz="2400" spc="-144">
                <a:solidFill>
                  <a:srgbClr val="262626"/>
                </a:solidFill>
                <a:latin typeface="+mj-lt"/>
                <a:ea typeface="+mj-ea"/>
                <a:cs typeface="+mj-cs"/>
                <a:sym typeface="EYInterstate Bold"/>
              </a:defRPr>
            </a:lvl1pPr>
          </a:lstStyle>
          <a:p>
            <a:pPr defTabSz="901467">
              <a:lnSpc>
                <a:spcPts val="4267"/>
              </a:lnSpc>
              <a:buClr>
                <a:srgbClr val="000000"/>
              </a:buClr>
              <a:defRPr/>
            </a:pPr>
            <a:r>
              <a:rPr lang="es-ES_tradnl" b="1" spc="-192" dirty="0">
                <a:solidFill>
                  <a:srgbClr val="000000"/>
                </a:solidFill>
                <a:latin typeface="EYInterstate" panose="02000503020000020004" pitchFamily="2" charset="0"/>
                <a:sym typeface="Arial"/>
              </a:rPr>
              <a:t>Contexto </a:t>
            </a:r>
            <a:endParaRPr b="1" spc="-192" dirty="0">
              <a:solidFill>
                <a:srgbClr val="000000"/>
              </a:solidFill>
              <a:latin typeface="EYInterstate" panose="02000503020000020004" pitchFamily="2" charset="0"/>
              <a:sym typeface="Arial"/>
            </a:endParaRPr>
          </a:p>
        </p:txBody>
      </p:sp>
      <p:sp>
        <p:nvSpPr>
          <p:cNvPr id="31" name="Rectangle 10">
            <a:extLst>
              <a:ext uri="{FF2B5EF4-FFF2-40B4-BE49-F238E27FC236}">
                <a16:creationId xmlns:a16="http://schemas.microsoft.com/office/drawing/2014/main" id="{E1802DD5-375A-4F49-961D-4CB465558A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766" y="1987968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1</a:t>
            </a:r>
          </a:p>
        </p:txBody>
      </p:sp>
      <p:sp>
        <p:nvSpPr>
          <p:cNvPr id="32" name="Rectangle 10">
            <a:extLst>
              <a:ext uri="{FF2B5EF4-FFF2-40B4-BE49-F238E27FC236}">
                <a16:creationId xmlns:a16="http://schemas.microsoft.com/office/drawing/2014/main" id="{1AF7282D-85D6-4328-A6AF-EDAA5DCC4F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766" y="2421271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2</a:t>
            </a:r>
          </a:p>
        </p:txBody>
      </p:sp>
      <p:sp>
        <p:nvSpPr>
          <p:cNvPr id="33" name="Rectangle 10">
            <a:extLst>
              <a:ext uri="{FF2B5EF4-FFF2-40B4-BE49-F238E27FC236}">
                <a16:creationId xmlns:a16="http://schemas.microsoft.com/office/drawing/2014/main" id="{77FCB2B6-AE80-4415-9E5D-B3B6B5DC71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766" y="2854574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3</a:t>
            </a:r>
          </a:p>
        </p:txBody>
      </p:sp>
      <p:sp>
        <p:nvSpPr>
          <p:cNvPr id="34" name="Rectangle 10">
            <a:extLst>
              <a:ext uri="{FF2B5EF4-FFF2-40B4-BE49-F238E27FC236}">
                <a16:creationId xmlns:a16="http://schemas.microsoft.com/office/drawing/2014/main" id="{EB222B33-D615-479B-B722-E85A5E3032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766" y="3287877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4</a:t>
            </a:r>
          </a:p>
        </p:txBody>
      </p:sp>
      <p:sp>
        <p:nvSpPr>
          <p:cNvPr id="35" name="Rectangle 10">
            <a:extLst>
              <a:ext uri="{FF2B5EF4-FFF2-40B4-BE49-F238E27FC236}">
                <a16:creationId xmlns:a16="http://schemas.microsoft.com/office/drawing/2014/main" id="{43877B0C-DEBA-491B-9585-F1A44413D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766" y="3721180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5</a:t>
            </a:r>
          </a:p>
        </p:txBody>
      </p:sp>
      <p:sp>
        <p:nvSpPr>
          <p:cNvPr id="36" name="Rectangle 10">
            <a:extLst>
              <a:ext uri="{FF2B5EF4-FFF2-40B4-BE49-F238E27FC236}">
                <a16:creationId xmlns:a16="http://schemas.microsoft.com/office/drawing/2014/main" id="{F91F4BA6-F409-493C-BF5B-7C388E5B87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766" y="4154483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6</a:t>
            </a:r>
          </a:p>
        </p:txBody>
      </p:sp>
      <p:sp>
        <p:nvSpPr>
          <p:cNvPr id="37" name="Rectangle 10">
            <a:extLst>
              <a:ext uri="{FF2B5EF4-FFF2-40B4-BE49-F238E27FC236}">
                <a16:creationId xmlns:a16="http://schemas.microsoft.com/office/drawing/2014/main" id="{C052109E-A7E3-4F70-90BA-6DF2C23537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766" y="4587786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7</a:t>
            </a:r>
          </a:p>
        </p:txBody>
      </p:sp>
      <p:sp>
        <p:nvSpPr>
          <p:cNvPr id="38" name="Rectangle 10">
            <a:extLst>
              <a:ext uri="{FF2B5EF4-FFF2-40B4-BE49-F238E27FC236}">
                <a16:creationId xmlns:a16="http://schemas.microsoft.com/office/drawing/2014/main" id="{5B538E8A-9274-4C50-BE9B-F2A669ADCD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766" y="5021089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8</a:t>
            </a:r>
          </a:p>
        </p:txBody>
      </p:sp>
      <p:sp>
        <p:nvSpPr>
          <p:cNvPr id="39" name="Rectangle 10">
            <a:extLst>
              <a:ext uri="{FF2B5EF4-FFF2-40B4-BE49-F238E27FC236}">
                <a16:creationId xmlns:a16="http://schemas.microsoft.com/office/drawing/2014/main" id="{B86E7888-9590-4CB2-A00F-837C6827E2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766" y="5454395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9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6074400-D917-45AF-B4A3-0269F16AA6DF}"/>
              </a:ext>
            </a:extLst>
          </p:cNvPr>
          <p:cNvSpPr/>
          <p:nvPr/>
        </p:nvSpPr>
        <p:spPr>
          <a:xfrm>
            <a:off x="1499809" y="2516162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SEXVAR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Si el entrevistado es hombre o mujer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A08D3DA-843D-4B2F-8ED7-5CE32350D725}"/>
              </a:ext>
            </a:extLst>
          </p:cNvPr>
          <p:cNvSpPr/>
          <p:nvPr/>
        </p:nvSpPr>
        <p:spPr>
          <a:xfrm>
            <a:off x="1480964" y="2908614"/>
            <a:ext cx="2890914" cy="30927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GENHLTH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El estado general de salud que el entrevistado considera que tien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B78A37E-F0DE-4D46-9E1F-737B08354F1B}"/>
              </a:ext>
            </a:extLst>
          </p:cNvPr>
          <p:cNvSpPr/>
          <p:nvPr/>
        </p:nvSpPr>
        <p:spPr>
          <a:xfrm>
            <a:off x="1469437" y="3406067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HLTHPLN1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Indica si el entrevistado tiene algún tipo de seguro de salud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7260830-F064-489E-B113-00B0245C9759}"/>
              </a:ext>
            </a:extLst>
          </p:cNvPr>
          <p:cNvSpPr/>
          <p:nvPr/>
        </p:nvSpPr>
        <p:spPr>
          <a:xfrm>
            <a:off x="1480964" y="3806863"/>
            <a:ext cx="2723935" cy="30927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CHECKUP1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Indica cuando fue la última vez que se realizó una revisión medica rutinaria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35DFBA8-2E37-4523-9047-952514AC2B0B}"/>
              </a:ext>
            </a:extLst>
          </p:cNvPr>
          <p:cNvSpPr/>
          <p:nvPr/>
        </p:nvSpPr>
        <p:spPr>
          <a:xfrm>
            <a:off x="1480964" y="4197590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EXERANY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Si realizó algún tipo de deporte o actividad física en el último me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D5868FC-D006-4787-9801-6CB4CDBCE1E0}"/>
              </a:ext>
            </a:extLst>
          </p:cNvPr>
          <p:cNvSpPr/>
          <p:nvPr/>
        </p:nvSpPr>
        <p:spPr>
          <a:xfrm>
            <a:off x="1480964" y="4641127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SLEPTIM1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Número de horas medias de sueño en un periodo de 24 hora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A6C29DC-0040-4069-A505-2625EC812F62}"/>
              </a:ext>
            </a:extLst>
          </p:cNvPr>
          <p:cNvSpPr/>
          <p:nvPr/>
        </p:nvSpPr>
        <p:spPr>
          <a:xfrm>
            <a:off x="1480964" y="5030710"/>
            <a:ext cx="2723935" cy="45423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CVDCRHD4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Es la variable a predecir, indica si el paciente ha tenido alguna vez angina o enfermedad coronaria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EEA8519-F9DC-4983-8BD4-9A2CEACAB524}"/>
              </a:ext>
            </a:extLst>
          </p:cNvPr>
          <p:cNvSpPr/>
          <p:nvPr/>
        </p:nvSpPr>
        <p:spPr>
          <a:xfrm>
            <a:off x="1484408" y="5550108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CVDSTRK3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Si alguna vez a padecido un ictu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0BB35C1-7013-472D-8284-9325B89CAFAD}"/>
              </a:ext>
            </a:extLst>
          </p:cNvPr>
          <p:cNvSpPr/>
          <p:nvPr/>
        </p:nvSpPr>
        <p:spPr>
          <a:xfrm>
            <a:off x="5077779" y="2057977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ASTHNOW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Si el entrevistado tiene asma</a:t>
            </a:r>
          </a:p>
        </p:txBody>
      </p:sp>
      <p:sp>
        <p:nvSpPr>
          <p:cNvPr id="49" name="Rectangle 10">
            <a:extLst>
              <a:ext uri="{FF2B5EF4-FFF2-40B4-BE49-F238E27FC236}">
                <a16:creationId xmlns:a16="http://schemas.microsoft.com/office/drawing/2014/main" id="{D8651AE0-78F4-4B8C-AE39-E5B2713205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1137" y="1983408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10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15EC1F4-2D63-4F53-81FF-C8B7366C01F8}"/>
              </a:ext>
            </a:extLst>
          </p:cNvPr>
          <p:cNvSpPr/>
          <p:nvPr/>
        </p:nvSpPr>
        <p:spPr>
          <a:xfrm>
            <a:off x="5077779" y="2488502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CHCSCNCR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Informa si ha padecido cáncer de piel</a:t>
            </a:r>
          </a:p>
        </p:txBody>
      </p:sp>
      <p:sp>
        <p:nvSpPr>
          <p:cNvPr id="51" name="Rectangle 10">
            <a:extLst>
              <a:ext uri="{FF2B5EF4-FFF2-40B4-BE49-F238E27FC236}">
                <a16:creationId xmlns:a16="http://schemas.microsoft.com/office/drawing/2014/main" id="{1A4D652F-D8CB-42DC-BACD-49A9BD81E5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1137" y="2416591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11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429C5DE-C255-4A4E-A9BA-8C03B7569092}"/>
              </a:ext>
            </a:extLst>
          </p:cNvPr>
          <p:cNvSpPr/>
          <p:nvPr/>
        </p:nvSpPr>
        <p:spPr>
          <a:xfrm>
            <a:off x="5077779" y="2911076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ADDEPEV3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Informa si ha padecido alguna enfermedad depresiva</a:t>
            </a:r>
          </a:p>
        </p:txBody>
      </p:sp>
      <p:sp>
        <p:nvSpPr>
          <p:cNvPr id="53" name="Rectangle 10">
            <a:extLst>
              <a:ext uri="{FF2B5EF4-FFF2-40B4-BE49-F238E27FC236}">
                <a16:creationId xmlns:a16="http://schemas.microsoft.com/office/drawing/2014/main" id="{9ADCA359-DD41-48D7-8E38-8A622C5EC7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1137" y="2849774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12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00BF6F6-391C-40E1-8A96-53982ABE0DF5}"/>
              </a:ext>
            </a:extLst>
          </p:cNvPr>
          <p:cNvSpPr/>
          <p:nvPr/>
        </p:nvSpPr>
        <p:spPr>
          <a:xfrm>
            <a:off x="5077779" y="3372101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ADDEPEV3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Informa si padece diabetes</a:t>
            </a:r>
          </a:p>
        </p:txBody>
      </p:sp>
      <p:sp>
        <p:nvSpPr>
          <p:cNvPr id="55" name="Rectangle 10">
            <a:extLst>
              <a:ext uri="{FF2B5EF4-FFF2-40B4-BE49-F238E27FC236}">
                <a16:creationId xmlns:a16="http://schemas.microsoft.com/office/drawing/2014/main" id="{3A65DDEC-E943-42EA-AB35-4E3C803FB4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1137" y="3282957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13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6AE8756-8092-4566-881E-2A6DE5F85FF8}"/>
              </a:ext>
            </a:extLst>
          </p:cNvPr>
          <p:cNvSpPr/>
          <p:nvPr/>
        </p:nvSpPr>
        <p:spPr>
          <a:xfrm>
            <a:off x="5077779" y="3811057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MARITAL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Indica el estado civil</a:t>
            </a:r>
          </a:p>
        </p:txBody>
      </p:sp>
      <p:sp>
        <p:nvSpPr>
          <p:cNvPr id="57" name="Rectangle 10">
            <a:extLst>
              <a:ext uri="{FF2B5EF4-FFF2-40B4-BE49-F238E27FC236}">
                <a16:creationId xmlns:a16="http://schemas.microsoft.com/office/drawing/2014/main" id="{D38936A6-F779-495B-A949-FEA9F40536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1137" y="3716140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14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5CF9983-1E20-4848-B6BD-952CC610A4D5}"/>
              </a:ext>
            </a:extLst>
          </p:cNvPr>
          <p:cNvSpPr/>
          <p:nvPr/>
        </p:nvSpPr>
        <p:spPr>
          <a:xfrm>
            <a:off x="5077779" y="4210602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EDUCA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Da información sobre el nivel educativo</a:t>
            </a:r>
          </a:p>
        </p:txBody>
      </p:sp>
      <p:sp>
        <p:nvSpPr>
          <p:cNvPr id="59" name="Rectangle 10">
            <a:extLst>
              <a:ext uri="{FF2B5EF4-FFF2-40B4-BE49-F238E27FC236}">
                <a16:creationId xmlns:a16="http://schemas.microsoft.com/office/drawing/2014/main" id="{4BDDDC66-5FC1-4CEF-943A-A26A884734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1137" y="4149323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15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74DCF16-8C59-4BD9-9822-7F872FDED33E}"/>
              </a:ext>
            </a:extLst>
          </p:cNvPr>
          <p:cNvSpPr/>
          <p:nvPr/>
        </p:nvSpPr>
        <p:spPr>
          <a:xfrm>
            <a:off x="5077779" y="4641127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EMPLOY1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Da información sobre el tipo de empleo</a:t>
            </a:r>
          </a:p>
        </p:txBody>
      </p:sp>
      <p:sp>
        <p:nvSpPr>
          <p:cNvPr id="61" name="Rectangle 10">
            <a:extLst>
              <a:ext uri="{FF2B5EF4-FFF2-40B4-BE49-F238E27FC236}">
                <a16:creationId xmlns:a16="http://schemas.microsoft.com/office/drawing/2014/main" id="{32373BD8-05CF-424D-9F49-95A9551B50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1137" y="4582506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1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0D7F61E-4851-4ACC-924E-2BD0FDDE2A73}"/>
              </a:ext>
            </a:extLst>
          </p:cNvPr>
          <p:cNvSpPr/>
          <p:nvPr/>
        </p:nvSpPr>
        <p:spPr>
          <a:xfrm>
            <a:off x="5077779" y="5071652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INCOME2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Da información sobre el salario anual medio</a:t>
            </a:r>
          </a:p>
        </p:txBody>
      </p:sp>
      <p:sp>
        <p:nvSpPr>
          <p:cNvPr id="63" name="Rectangle 10">
            <a:extLst>
              <a:ext uri="{FF2B5EF4-FFF2-40B4-BE49-F238E27FC236}">
                <a16:creationId xmlns:a16="http://schemas.microsoft.com/office/drawing/2014/main" id="{BAA577F8-D9B4-4CB2-8C6F-CF8FD20284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1137" y="5015689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17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303E5DE-8C00-4335-A789-86FEC3465A66}"/>
              </a:ext>
            </a:extLst>
          </p:cNvPr>
          <p:cNvSpPr/>
          <p:nvPr/>
        </p:nvSpPr>
        <p:spPr>
          <a:xfrm>
            <a:off x="5077779" y="5502178"/>
            <a:ext cx="2723935" cy="1861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WEIGHT2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Peso medio del entrevistado</a:t>
            </a:r>
          </a:p>
        </p:txBody>
      </p:sp>
      <p:sp>
        <p:nvSpPr>
          <p:cNvPr id="65" name="Rectangle 10">
            <a:extLst>
              <a:ext uri="{FF2B5EF4-FFF2-40B4-BE49-F238E27FC236}">
                <a16:creationId xmlns:a16="http://schemas.microsoft.com/office/drawing/2014/main" id="{A5AB69D8-B242-400A-B59B-3E8259464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1137" y="5448875"/>
            <a:ext cx="4150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18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7583D7E-31C7-4749-B72D-D87B5FF823E9}"/>
              </a:ext>
            </a:extLst>
          </p:cNvPr>
          <p:cNvSpPr/>
          <p:nvPr/>
        </p:nvSpPr>
        <p:spPr>
          <a:xfrm>
            <a:off x="8557243" y="2073569"/>
            <a:ext cx="2479165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LASTSMK2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Última vez que fumó un cigarrillo</a:t>
            </a:r>
          </a:p>
        </p:txBody>
      </p:sp>
      <p:sp>
        <p:nvSpPr>
          <p:cNvPr id="67" name="Rectangle 10">
            <a:extLst>
              <a:ext uri="{FF2B5EF4-FFF2-40B4-BE49-F238E27FC236}">
                <a16:creationId xmlns:a16="http://schemas.microsoft.com/office/drawing/2014/main" id="{019BC9AC-F983-4106-B4C9-C5A65F5F80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2498" y="1997773"/>
            <a:ext cx="37775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19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737239D-91A8-4FBC-B6CA-6B3F14E0BA39}"/>
              </a:ext>
            </a:extLst>
          </p:cNvPr>
          <p:cNvSpPr/>
          <p:nvPr/>
        </p:nvSpPr>
        <p:spPr>
          <a:xfrm>
            <a:off x="8557243" y="2888459"/>
            <a:ext cx="2479165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ALCDAY5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Cuántas veces al mes bebe alcohol</a:t>
            </a:r>
          </a:p>
        </p:txBody>
      </p:sp>
      <p:sp>
        <p:nvSpPr>
          <p:cNvPr id="69" name="Rectangle 10">
            <a:extLst>
              <a:ext uri="{FF2B5EF4-FFF2-40B4-BE49-F238E27FC236}">
                <a16:creationId xmlns:a16="http://schemas.microsoft.com/office/drawing/2014/main" id="{79A5DC31-028F-4CEE-81B3-8D4DDD05D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2498" y="2840349"/>
            <a:ext cx="37775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21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D5C3F324-ED6C-466F-ACB0-84550DB16B63}"/>
              </a:ext>
            </a:extLst>
          </p:cNvPr>
          <p:cNvSpPr/>
          <p:nvPr/>
        </p:nvSpPr>
        <p:spPr>
          <a:xfrm>
            <a:off x="8557242" y="3290780"/>
            <a:ext cx="2479165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ECIGNOW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Informa sobre si el entrevistado utiliza cigarrillos electrónicos</a:t>
            </a:r>
          </a:p>
        </p:txBody>
      </p:sp>
      <p:sp>
        <p:nvSpPr>
          <p:cNvPr id="71" name="Rectangle 10">
            <a:extLst>
              <a:ext uri="{FF2B5EF4-FFF2-40B4-BE49-F238E27FC236}">
                <a16:creationId xmlns:a16="http://schemas.microsoft.com/office/drawing/2014/main" id="{F01A8003-A2A3-45B3-9C40-B3D9E61586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2498" y="3261637"/>
            <a:ext cx="37775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22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74B1ED1F-0CDB-4ABD-8A04-C38D74087BAB}"/>
              </a:ext>
            </a:extLst>
          </p:cNvPr>
          <p:cNvSpPr/>
          <p:nvPr/>
        </p:nvSpPr>
        <p:spPr>
          <a:xfrm>
            <a:off x="8557243" y="2486138"/>
            <a:ext cx="2479165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LCSNUMCG: </a:t>
            </a:r>
            <a:r>
              <a:rPr lang="es-ES" sz="900" dirty="0" err="1">
                <a:solidFill>
                  <a:schemeClr val="bg1"/>
                </a:solidFill>
                <a:latin typeface="EYInterstate" panose="02000503020000020004" pitchFamily="2" charset="0"/>
              </a:rPr>
              <a:t>Nº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 de cigarrillos fumados al día</a:t>
            </a:r>
          </a:p>
        </p:txBody>
      </p:sp>
      <p:sp>
        <p:nvSpPr>
          <p:cNvPr id="73" name="Rectangle 10">
            <a:extLst>
              <a:ext uri="{FF2B5EF4-FFF2-40B4-BE49-F238E27FC236}">
                <a16:creationId xmlns:a16="http://schemas.microsoft.com/office/drawing/2014/main" id="{2878CDB4-36E7-4D20-82E9-DDF51DD9F6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2498" y="2419061"/>
            <a:ext cx="37775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20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DB23F3E-4AF6-4EDD-B78D-CB16F47CED2D}"/>
              </a:ext>
            </a:extLst>
          </p:cNvPr>
          <p:cNvSpPr/>
          <p:nvPr/>
        </p:nvSpPr>
        <p:spPr>
          <a:xfrm>
            <a:off x="8557242" y="3702571"/>
            <a:ext cx="2479165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900" b="1" dirty="0">
                <a:solidFill>
                  <a:schemeClr val="bg1"/>
                </a:solidFill>
                <a:latin typeface="EYInterstate" panose="02000503020000020004" pitchFamily="2" charset="0"/>
              </a:rPr>
              <a:t>CNCRTYP1: </a:t>
            </a:r>
            <a:r>
              <a:rPr lang="es-ES" sz="900" dirty="0">
                <a:solidFill>
                  <a:schemeClr val="bg1"/>
                </a:solidFill>
                <a:latin typeface="EYInterstate" panose="02000503020000020004" pitchFamily="2" charset="0"/>
              </a:rPr>
              <a:t>Informa sobre el tipo de cáncer que hayan tenido los entrevistados en caso de padecer algún tipo </a:t>
            </a:r>
          </a:p>
        </p:txBody>
      </p:sp>
      <p:sp>
        <p:nvSpPr>
          <p:cNvPr id="75" name="Rectangle 10">
            <a:extLst>
              <a:ext uri="{FF2B5EF4-FFF2-40B4-BE49-F238E27FC236}">
                <a16:creationId xmlns:a16="http://schemas.microsoft.com/office/drawing/2014/main" id="{2B9F7E4E-D95E-4EC8-A683-2E8A626E2F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2498" y="3682925"/>
            <a:ext cx="37775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chemeClr val="bg2"/>
                </a:solidFill>
                <a:latin typeface="Georgia" pitchFamily="18" charset="0"/>
              </a:rPr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16703644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A7677E7-D8A1-4BE8-9A6F-CDA67C35A38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02" r="6165" b="34661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5695A64-94D1-4BF2-B10E-6BA44AB6AE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5695A64-94D1-4BF2-B10E-6BA44AB6AE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ángulo 3">
            <a:extLst>
              <a:ext uri="{FF2B5EF4-FFF2-40B4-BE49-F238E27FC236}">
                <a16:creationId xmlns:a16="http://schemas.microsoft.com/office/drawing/2014/main" id="{8F543AB0-D233-4A76-AA16-7940EA4AFA00}"/>
              </a:ext>
            </a:extLst>
          </p:cNvPr>
          <p:cNvSpPr/>
          <p:nvPr/>
        </p:nvSpPr>
        <p:spPr>
          <a:xfrm>
            <a:off x="-1" y="-12226"/>
            <a:ext cx="4786489" cy="6870225"/>
          </a:xfrm>
          <a:prstGeom prst="rect">
            <a:avLst/>
          </a:prstGeom>
          <a:solidFill>
            <a:srgbClr val="000000">
              <a:alpha val="80000"/>
            </a:srgbClr>
          </a:solidFill>
          <a:ln w="285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  <a:defRPr/>
            </a:pPr>
            <a:endParaRPr lang="es-ES" sz="1600" kern="0" dirty="0">
              <a:solidFill>
                <a:prstClr val="white"/>
              </a:solidFill>
              <a:latin typeface="Calibri" panose="020F0502020204030204"/>
              <a:sym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1BD6EA-139F-4425-BB63-1FDFD6EC17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817" y="5477933"/>
            <a:ext cx="932895" cy="1071168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B4C2BF7E-9BF1-4AC5-B9EC-414B84413EAD}"/>
              </a:ext>
            </a:extLst>
          </p:cNvPr>
          <p:cNvSpPr txBox="1"/>
          <p:nvPr/>
        </p:nvSpPr>
        <p:spPr>
          <a:xfrm>
            <a:off x="324823" y="2344680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n-IN" sz="4267" kern="0" dirty="0">
                <a:solidFill>
                  <a:srgbClr val="E7E6E6">
                    <a:lumMod val="75000"/>
                  </a:srgbClr>
                </a:solidFill>
                <a:latin typeface="EYInterstate Light" panose="02000506000000020004" pitchFamily="2" charset="0"/>
                <a:cs typeface="Arial"/>
                <a:sym typeface="Arial"/>
              </a:rPr>
              <a:t>03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0DA8AEE-89A6-45D7-87EC-1BE917E937CB}"/>
              </a:ext>
            </a:extLst>
          </p:cNvPr>
          <p:cNvSpPr txBox="1"/>
          <p:nvPr/>
        </p:nvSpPr>
        <p:spPr>
          <a:xfrm>
            <a:off x="1234488" y="2489665"/>
            <a:ext cx="3073896" cy="268200"/>
          </a:xfrm>
          <a:prstGeom prst="rect">
            <a:avLst/>
          </a:prstGeom>
          <a:noFill/>
        </p:spPr>
        <p:txBody>
          <a:bodyPr wrap="square" lIns="37775" tIns="37775" rIns="37775" bIns="37775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s-ES" sz="1467" kern="0" dirty="0">
                <a:solidFill>
                  <a:srgbClr val="E7E6E6">
                    <a:lumMod val="75000"/>
                  </a:srgbClr>
                </a:solidFill>
                <a:latin typeface="EYInterstate Light" panose="02000506000000020004" pitchFamily="2" charset="0"/>
                <a:cs typeface="Arial"/>
                <a:sym typeface="Arial"/>
              </a:rPr>
              <a:t>Análisi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6533B73-7B2D-4B37-8CD4-3F6C71FA819A}"/>
              </a:ext>
            </a:extLst>
          </p:cNvPr>
          <p:cNvSpPr txBox="1"/>
          <p:nvPr/>
        </p:nvSpPr>
        <p:spPr>
          <a:xfrm>
            <a:off x="324823" y="746341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lnSpc>
                <a:spcPct val="85000"/>
              </a:lnSpc>
              <a:spcAft>
                <a:spcPts val="472"/>
              </a:spcAft>
              <a:buClr>
                <a:srgbClr val="FFE600"/>
              </a:buClr>
              <a:buSzPct val="70000"/>
              <a:buNone/>
              <a:tabLst/>
              <a:defRPr kumimoji="0" sz="3200" kern="0" spc="0" normalizeH="0" baseline="0">
                <a:ln>
                  <a:noFill/>
                </a:ln>
                <a:solidFill>
                  <a:srgbClr val="FFD400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1pPr>
          </a:lstStyle>
          <a:p>
            <a:r>
              <a:rPr lang="en-IN" sz="4267" dirty="0">
                <a:solidFill>
                  <a:srgbClr val="E7E6E6">
                    <a:lumMod val="75000"/>
                  </a:srgbClr>
                </a:solidFill>
                <a:cs typeface="Arial"/>
              </a:rPr>
              <a:t>0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FE1FC68-0500-4894-9378-6D94921CAD6E}"/>
              </a:ext>
            </a:extLst>
          </p:cNvPr>
          <p:cNvSpPr txBox="1"/>
          <p:nvPr/>
        </p:nvSpPr>
        <p:spPr>
          <a:xfrm>
            <a:off x="1234488" y="891325"/>
            <a:ext cx="3552000" cy="268200"/>
          </a:xfrm>
          <a:prstGeom prst="rect">
            <a:avLst/>
          </a:prstGeom>
          <a:noFill/>
        </p:spPr>
        <p:txBody>
          <a:bodyPr wrap="square" lIns="37775" tIns="37775" rIns="37775" bIns="37775" rtlCol="0" anchor="ctr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lnSpc>
                <a:spcPct val="85000"/>
              </a:lnSpc>
              <a:spcAft>
                <a:spcPts val="472"/>
              </a:spcAft>
              <a:buClr>
                <a:srgbClr val="FFE600"/>
              </a:buClr>
              <a:buSzPct val="70000"/>
              <a:buNone/>
              <a:tabLst/>
              <a:defRPr kumimoji="0" sz="1100" b="1" kern="0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1pPr>
          </a:lstStyle>
          <a:p>
            <a:r>
              <a:rPr lang="es-ES" sz="1467" dirty="0">
                <a:solidFill>
                  <a:srgbClr val="E7E6E6">
                    <a:lumMod val="75000"/>
                  </a:srgbClr>
                </a:solidFill>
                <a:cs typeface="Arial"/>
                <a:sym typeface="Arial"/>
              </a:rPr>
              <a:t>Contexto</a:t>
            </a:r>
            <a:endParaRPr lang="es-ES" sz="1467" dirty="0">
              <a:solidFill>
                <a:srgbClr val="E7E6E6">
                  <a:lumMod val="75000"/>
                </a:srgbClr>
              </a:solidFill>
              <a:cs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2EDD53A-155F-4C19-B612-A99B0B02B890}"/>
              </a:ext>
            </a:extLst>
          </p:cNvPr>
          <p:cNvSpPr txBox="1"/>
          <p:nvPr/>
        </p:nvSpPr>
        <p:spPr>
          <a:xfrm>
            <a:off x="324823" y="1545527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n-IN" sz="4267" kern="0" dirty="0">
                <a:solidFill>
                  <a:srgbClr val="FFFF00"/>
                </a:solidFill>
                <a:latin typeface="EYInterstate Light" panose="02000506000000020004" pitchFamily="2" charset="0"/>
                <a:cs typeface="Arial"/>
                <a:sym typeface="Arial"/>
              </a:rPr>
              <a:t>0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37AA954-C5AC-44D1-9A36-F46B272B1EEF}"/>
              </a:ext>
            </a:extLst>
          </p:cNvPr>
          <p:cNvSpPr txBox="1"/>
          <p:nvPr/>
        </p:nvSpPr>
        <p:spPr>
          <a:xfrm>
            <a:off x="1234488" y="1690511"/>
            <a:ext cx="3073896" cy="268200"/>
          </a:xfrm>
          <a:prstGeom prst="rect">
            <a:avLst/>
          </a:prstGeom>
          <a:noFill/>
        </p:spPr>
        <p:txBody>
          <a:bodyPr wrap="square" lIns="37775" tIns="37775" rIns="37775" bIns="37775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s-ES" sz="1467" kern="0" dirty="0">
                <a:latin typeface="EYInterstate Light" panose="02000506000000020004" pitchFamily="2" charset="0"/>
                <a:cs typeface="Arial"/>
                <a:sym typeface="Arial"/>
              </a:rPr>
              <a:t>Model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7ACDF1-255D-4DCC-A589-D1F135432D6E}"/>
              </a:ext>
            </a:extLst>
          </p:cNvPr>
          <p:cNvSpPr txBox="1"/>
          <p:nvPr/>
        </p:nvSpPr>
        <p:spPr>
          <a:xfrm>
            <a:off x="324823" y="3143803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n-IN" sz="4267" kern="0" dirty="0">
                <a:solidFill>
                  <a:srgbClr val="E7E6E6">
                    <a:lumMod val="75000"/>
                  </a:srgbClr>
                </a:solidFill>
                <a:latin typeface="EYInterstate Light" panose="02000506000000020004" pitchFamily="2" charset="0"/>
                <a:cs typeface="Arial"/>
                <a:sym typeface="Arial"/>
              </a:rPr>
              <a:t>0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9B14C04-4059-4E5D-A5F6-1CCCBA6E5C16}"/>
              </a:ext>
            </a:extLst>
          </p:cNvPr>
          <p:cNvSpPr txBox="1"/>
          <p:nvPr/>
        </p:nvSpPr>
        <p:spPr>
          <a:xfrm>
            <a:off x="1234488" y="3283002"/>
            <a:ext cx="3073896" cy="268200"/>
          </a:xfrm>
          <a:prstGeom prst="rect">
            <a:avLst/>
          </a:prstGeom>
          <a:noFill/>
        </p:spPr>
        <p:txBody>
          <a:bodyPr wrap="square" lIns="37775" tIns="37775" rIns="37775" bIns="37775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s-ES" sz="1467" kern="0" dirty="0">
                <a:solidFill>
                  <a:srgbClr val="E7E6E6">
                    <a:lumMod val="75000"/>
                  </a:srgbClr>
                </a:solidFill>
                <a:latin typeface="EYInterstate Light" panose="02000506000000020004" pitchFamily="2" charset="0"/>
                <a:cs typeface="Arial"/>
                <a:sym typeface="Arial"/>
              </a:rPr>
              <a:t>Visualización</a:t>
            </a:r>
          </a:p>
        </p:txBody>
      </p:sp>
    </p:spTree>
    <p:extLst>
      <p:ext uri="{BB962C8B-B14F-4D97-AF65-F5344CB8AC3E}">
        <p14:creationId xmlns:p14="http://schemas.microsoft.com/office/powerpoint/2010/main" val="29636124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8ED611F-4518-4009-928A-4A642A7656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614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8ED611F-4518-4009-928A-4A642A7656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215536-1047-41D2-9D18-A4092AA37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dirty="0"/>
              <a:t>Model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DAE252-A8C7-4072-924C-15F9A47F66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IN"/>
              <a:t>2022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2D21BA-2C7E-46D6-9B0A-5DB317822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s-ES" smtClean="0"/>
              <a:pPr/>
              <a:t>6</a:t>
            </a:fld>
            <a:endParaRPr lang="es-E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CE4128-CC3C-474B-94AA-CDF93448456F}"/>
              </a:ext>
            </a:extLst>
          </p:cNvPr>
          <p:cNvSpPr/>
          <p:nvPr/>
        </p:nvSpPr>
        <p:spPr>
          <a:xfrm>
            <a:off x="1319915" y="1630021"/>
            <a:ext cx="1828801" cy="4023360"/>
          </a:xfrm>
          <a:prstGeom prst="rect">
            <a:avLst/>
          </a:prstGeom>
          <a:solidFill>
            <a:schemeClr val="bg2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" sz="12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9B7C1E-274F-4F80-B5DB-10516F37DAF8}"/>
              </a:ext>
            </a:extLst>
          </p:cNvPr>
          <p:cNvSpPr/>
          <p:nvPr/>
        </p:nvSpPr>
        <p:spPr>
          <a:xfrm>
            <a:off x="3799851" y="1630021"/>
            <a:ext cx="1828801" cy="4023360"/>
          </a:xfrm>
          <a:prstGeom prst="rect">
            <a:avLst/>
          </a:prstGeom>
          <a:solidFill>
            <a:schemeClr val="bg2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" sz="12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305A3CB-DDC7-47B4-85FC-16E41F56F468}"/>
              </a:ext>
            </a:extLst>
          </p:cNvPr>
          <p:cNvSpPr/>
          <p:nvPr/>
        </p:nvSpPr>
        <p:spPr>
          <a:xfrm>
            <a:off x="6279786" y="1630021"/>
            <a:ext cx="1828801" cy="4023360"/>
          </a:xfrm>
          <a:prstGeom prst="rect">
            <a:avLst/>
          </a:prstGeom>
          <a:solidFill>
            <a:schemeClr val="bg2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" sz="12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D49F9BF-BE59-4624-B672-D6848F2FEAAC}"/>
              </a:ext>
            </a:extLst>
          </p:cNvPr>
          <p:cNvSpPr/>
          <p:nvPr/>
        </p:nvSpPr>
        <p:spPr>
          <a:xfrm>
            <a:off x="8759722" y="1630021"/>
            <a:ext cx="1828801" cy="4023360"/>
          </a:xfrm>
          <a:prstGeom prst="rect">
            <a:avLst/>
          </a:prstGeom>
          <a:solidFill>
            <a:schemeClr val="bg2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" sz="12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23C101C-50E9-40CA-AEE0-409170376E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087" y="1630021"/>
            <a:ext cx="53298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200" b="1" i="1" dirty="0">
                <a:solidFill>
                  <a:srgbClr val="FFE600"/>
                </a:solidFill>
                <a:latin typeface="Georgia" pitchFamily="18" charset="0"/>
              </a:rPr>
              <a:t>0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1DB5A41-E9A8-4667-B1A6-C4AFA9DD4995}"/>
              </a:ext>
            </a:extLst>
          </p:cNvPr>
          <p:cNvSpPr/>
          <p:nvPr/>
        </p:nvSpPr>
        <p:spPr>
          <a:xfrm>
            <a:off x="1457821" y="2120026"/>
            <a:ext cx="1370110" cy="189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1050" dirty="0">
                <a:solidFill>
                  <a:schemeClr val="tx1"/>
                </a:solidFill>
                <a:latin typeface="EYInterstate" panose="02000503020000020004" pitchFamily="2" charset="0"/>
              </a:rPr>
              <a:t>Limpieza del </a:t>
            </a:r>
            <a:r>
              <a:rPr lang="es-ES" sz="1050" dirty="0" err="1">
                <a:solidFill>
                  <a:schemeClr val="tx1"/>
                </a:solidFill>
                <a:latin typeface="EYInterstate" panose="02000503020000020004" pitchFamily="2" charset="0"/>
              </a:rPr>
              <a:t>dataset</a:t>
            </a:r>
            <a:endParaRPr lang="es-ES" sz="1050" dirty="0">
              <a:solidFill>
                <a:schemeClr val="tx1"/>
              </a:solidFill>
              <a:latin typeface="EYInterstate" panose="02000503020000020004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D0973F-9924-4B27-959E-8D6628905C81}"/>
              </a:ext>
            </a:extLst>
          </p:cNvPr>
          <p:cNvSpPr/>
          <p:nvPr/>
        </p:nvSpPr>
        <p:spPr>
          <a:xfrm>
            <a:off x="1415087" y="2709834"/>
            <a:ext cx="1638214" cy="16872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Eliminar variables que no son relevantes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s-ES" sz="900" dirty="0">
              <a:solidFill>
                <a:schemeClr val="tx1"/>
              </a:solidFill>
              <a:latin typeface="EYInterstate Light" panose="02000506000000020004" pitchFamily="2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Eliminar formularios que no han sido totalmente completados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s-ES" sz="900" dirty="0">
              <a:solidFill>
                <a:schemeClr val="tx1"/>
              </a:solidFill>
              <a:latin typeface="EYInterstate Light" panose="02000506000000020004" pitchFamily="2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Tratar los </a:t>
            </a:r>
            <a:r>
              <a:rPr lang="es-ES" sz="900" dirty="0" err="1">
                <a:solidFill>
                  <a:schemeClr val="tx1"/>
                </a:solidFill>
                <a:latin typeface="EYInterstate Light" panose="02000506000000020004" pitchFamily="2" charset="0"/>
              </a:rPr>
              <a:t>nulls</a:t>
            </a:r>
            <a:endParaRPr lang="es-ES" sz="900" dirty="0">
              <a:solidFill>
                <a:schemeClr val="tx1"/>
              </a:solidFill>
              <a:latin typeface="EYInterstate Light" panose="02000506000000020004" pitchFamily="2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s-ES" sz="900" dirty="0">
              <a:solidFill>
                <a:schemeClr val="tx1"/>
              </a:solidFill>
              <a:latin typeface="EYInterstate Light" panose="02000506000000020004" pitchFamily="2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Observar la correlación y eliminar aquellas variable muy correlacionadas (</a:t>
            </a:r>
            <a:r>
              <a:rPr lang="es-ES" sz="900" dirty="0" err="1">
                <a:solidFill>
                  <a:schemeClr val="tx1"/>
                </a:solidFill>
                <a:latin typeface="EYInterstate Light" panose="02000506000000020004" pitchFamily="2" charset="0"/>
              </a:rPr>
              <a:t>Ej</a:t>
            </a: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: CHCSCNCR </a:t>
            </a:r>
          </a:p>
          <a:p>
            <a:endParaRPr lang="es-ES" sz="900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94F5E4F-FA5F-437A-A576-CA364FB789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683" y="1630021"/>
            <a:ext cx="61912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200" b="1" i="1" dirty="0">
                <a:solidFill>
                  <a:srgbClr val="FFE600"/>
                </a:solidFill>
                <a:latin typeface="Georgia" pitchFamily="18" charset="0"/>
              </a:rPr>
              <a:t>0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9E28B7D-B0DE-4FDC-B9BA-AB43CEC1C1B9}"/>
              </a:ext>
            </a:extLst>
          </p:cNvPr>
          <p:cNvSpPr/>
          <p:nvPr/>
        </p:nvSpPr>
        <p:spPr>
          <a:xfrm>
            <a:off x="4027417" y="2120026"/>
            <a:ext cx="1370110" cy="189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1050" dirty="0">
                <a:solidFill>
                  <a:schemeClr val="tx1"/>
                </a:solidFill>
                <a:latin typeface="EYInterstate" panose="02000503020000020004" pitchFamily="2" charset="0"/>
              </a:rPr>
              <a:t>¿Categóricas o numéricas?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4081B4-C76A-4BF4-A510-AB743A46D8CA}"/>
              </a:ext>
            </a:extLst>
          </p:cNvPr>
          <p:cNvSpPr/>
          <p:nvPr/>
        </p:nvSpPr>
        <p:spPr>
          <a:xfrm>
            <a:off x="3893365" y="2709834"/>
            <a:ext cx="1638214" cy="16872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Cambiar a categóricas las variables numéricas mal clasificadas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s-ES" sz="900" dirty="0">
              <a:solidFill>
                <a:schemeClr val="tx1"/>
              </a:solidFill>
              <a:latin typeface="EYInterstate Light" panose="02000506000000020004" pitchFamily="2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Realizar un </a:t>
            </a:r>
            <a:r>
              <a:rPr lang="es-ES" sz="900" dirty="0" err="1">
                <a:solidFill>
                  <a:schemeClr val="tx1"/>
                </a:solidFill>
                <a:latin typeface="EYInterstate Light" panose="02000506000000020004" pitchFamily="2" charset="0"/>
              </a:rPr>
              <a:t>one</a:t>
            </a: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 </a:t>
            </a:r>
            <a:r>
              <a:rPr lang="es-ES" sz="900" dirty="0" err="1">
                <a:solidFill>
                  <a:schemeClr val="tx1"/>
                </a:solidFill>
                <a:latin typeface="EYInterstate Light" panose="02000506000000020004" pitchFamily="2" charset="0"/>
              </a:rPr>
              <a:t>hot</a:t>
            </a: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 </a:t>
            </a:r>
            <a:r>
              <a:rPr lang="es-ES" sz="900" dirty="0" err="1">
                <a:solidFill>
                  <a:schemeClr val="tx1"/>
                </a:solidFill>
                <a:latin typeface="EYInterstate Light" panose="02000506000000020004" pitchFamily="2" charset="0"/>
              </a:rPr>
              <a:t>enconding</a:t>
            </a: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 de las variables categóricas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s-ES" sz="900" dirty="0">
              <a:solidFill>
                <a:schemeClr val="tx1"/>
              </a:solidFill>
              <a:latin typeface="EYInterstate Light" panose="02000506000000020004" pitchFamily="2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Concatenar los </a:t>
            </a:r>
            <a:r>
              <a:rPr lang="es-ES" sz="900" dirty="0" err="1">
                <a:solidFill>
                  <a:schemeClr val="tx1"/>
                </a:solidFill>
                <a:latin typeface="EYInterstate Light" panose="02000506000000020004" pitchFamily="2" charset="0"/>
              </a:rPr>
              <a:t>dataframes</a:t>
            </a:r>
            <a:endParaRPr lang="es-ES" sz="900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64B4B73-F97A-491C-861C-DE85FE13A5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0669" y="1630021"/>
            <a:ext cx="61912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200" b="1" i="1" dirty="0">
                <a:solidFill>
                  <a:srgbClr val="FFE600"/>
                </a:solidFill>
                <a:latin typeface="Georgia" pitchFamily="18" charset="0"/>
              </a:rPr>
              <a:t>0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FB42CC6-F7D9-44BC-A916-97A0D1CA9C3B}"/>
              </a:ext>
            </a:extLst>
          </p:cNvPr>
          <p:cNvSpPr/>
          <p:nvPr/>
        </p:nvSpPr>
        <p:spPr>
          <a:xfrm>
            <a:off x="6533403" y="2120026"/>
            <a:ext cx="1370110" cy="189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es-ES" sz="1050" dirty="0">
              <a:solidFill>
                <a:schemeClr val="tx1"/>
              </a:solidFill>
              <a:latin typeface="EYInterstate" panose="02000503020000020004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261FE3A-9038-43DE-B33A-119EB7ECE68B}"/>
              </a:ext>
            </a:extLst>
          </p:cNvPr>
          <p:cNvSpPr/>
          <p:nvPr/>
        </p:nvSpPr>
        <p:spPr>
          <a:xfrm>
            <a:off x="6490669" y="2120026"/>
            <a:ext cx="1370110" cy="189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1050" dirty="0">
                <a:solidFill>
                  <a:schemeClr val="tx1"/>
                </a:solidFill>
                <a:latin typeface="EYInterstate" panose="02000503020000020004" pitchFamily="2" charset="0"/>
              </a:rPr>
              <a:t>Definició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1BA8C9B-569D-45A9-A9FA-0ACBBDEF9C26}"/>
              </a:ext>
            </a:extLst>
          </p:cNvPr>
          <p:cNvSpPr/>
          <p:nvPr/>
        </p:nvSpPr>
        <p:spPr>
          <a:xfrm>
            <a:off x="6399351" y="2709834"/>
            <a:ext cx="1638214" cy="16872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Definición de las variables independientes y la dependiente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s-ES" sz="900" dirty="0">
              <a:solidFill>
                <a:schemeClr val="tx1"/>
              </a:solidFill>
              <a:latin typeface="EYInterstate Light" panose="02000506000000020004" pitchFamily="2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Split del </a:t>
            </a:r>
            <a:r>
              <a:rPr lang="es-ES" sz="900" dirty="0" err="1">
                <a:solidFill>
                  <a:schemeClr val="tx1"/>
                </a:solidFill>
                <a:latin typeface="EYInterstate Light" panose="02000506000000020004" pitchFamily="2" charset="0"/>
              </a:rPr>
              <a:t>dataset</a:t>
            </a: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 en training and </a:t>
            </a:r>
            <a:r>
              <a:rPr lang="es-ES" sz="900" dirty="0" err="1">
                <a:solidFill>
                  <a:schemeClr val="tx1"/>
                </a:solidFill>
                <a:latin typeface="EYInterstate Light" panose="02000506000000020004" pitchFamily="2" charset="0"/>
              </a:rPr>
              <a:t>testing</a:t>
            </a:r>
            <a:endParaRPr lang="es-ES" sz="900" dirty="0">
              <a:solidFill>
                <a:schemeClr val="tx1"/>
              </a:solidFill>
              <a:latin typeface="EYInterstate Light" panose="02000506000000020004" pitchFamily="2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s-ES" sz="900" dirty="0">
              <a:solidFill>
                <a:schemeClr val="tx1"/>
              </a:solidFill>
              <a:latin typeface="EYInterstate Light" panose="02000506000000020004" pitchFamily="2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Escalar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s-ES" sz="900" dirty="0">
              <a:solidFill>
                <a:schemeClr val="tx1"/>
              </a:solidFill>
              <a:latin typeface="EYInterstate Light" panose="02000506000000020004" pitchFamily="2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s-ES" sz="900" dirty="0" err="1">
                <a:solidFill>
                  <a:schemeClr val="tx1"/>
                </a:solidFill>
                <a:latin typeface="EYInterstate Light" panose="02000506000000020004" pitchFamily="2" charset="0"/>
              </a:rPr>
              <a:t>Undersampling</a:t>
            </a:r>
            <a:endParaRPr lang="es-ES" sz="900" dirty="0">
              <a:solidFill>
                <a:schemeClr val="tx1"/>
              </a:solidFill>
              <a:latin typeface="EYInterstate Light" panose="02000506000000020004" pitchFamily="2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s-ES" sz="900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0135686-DC10-4D8B-80B0-2FEE4710C6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88704" y="1630021"/>
            <a:ext cx="61912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200" b="1" i="1" dirty="0">
                <a:solidFill>
                  <a:srgbClr val="FFE600"/>
                </a:solidFill>
                <a:latin typeface="Georgia" pitchFamily="18" charset="0"/>
              </a:rPr>
              <a:t>04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59DC5E2-75E2-41F1-BB7A-0B46CFF378F1}"/>
              </a:ext>
            </a:extLst>
          </p:cNvPr>
          <p:cNvSpPr/>
          <p:nvPr/>
        </p:nvSpPr>
        <p:spPr>
          <a:xfrm>
            <a:off x="9031438" y="2120026"/>
            <a:ext cx="1370110" cy="189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es-ES" sz="1050" dirty="0">
              <a:solidFill>
                <a:schemeClr val="tx1"/>
              </a:solidFill>
              <a:latin typeface="EYInterstate" panose="02000503020000020004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4EEFACD-B424-417A-AA56-19D8F01FD3E5}"/>
              </a:ext>
            </a:extLst>
          </p:cNvPr>
          <p:cNvSpPr/>
          <p:nvPr/>
        </p:nvSpPr>
        <p:spPr>
          <a:xfrm>
            <a:off x="8988704" y="2120026"/>
            <a:ext cx="1370110" cy="189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1050" dirty="0">
                <a:solidFill>
                  <a:schemeClr val="tx1"/>
                </a:solidFill>
                <a:latin typeface="EYInterstate" panose="02000503020000020004" pitchFamily="2" charset="0"/>
              </a:rPr>
              <a:t>Modelo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AB2E505-9468-412E-A3B5-76B72B0158F3}"/>
              </a:ext>
            </a:extLst>
          </p:cNvPr>
          <p:cNvSpPr/>
          <p:nvPr/>
        </p:nvSpPr>
        <p:spPr>
          <a:xfrm>
            <a:off x="8897386" y="2709834"/>
            <a:ext cx="1638214" cy="16872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s-ES" sz="900" dirty="0" err="1">
                <a:solidFill>
                  <a:schemeClr val="tx1"/>
                </a:solidFill>
                <a:latin typeface="EYInterstate Light" panose="02000506000000020004" pitchFamily="2" charset="0"/>
              </a:rPr>
              <a:t>Classification</a:t>
            </a:r>
            <a:endParaRPr lang="es-ES" sz="900" dirty="0">
              <a:solidFill>
                <a:schemeClr val="tx1"/>
              </a:solidFill>
              <a:latin typeface="EYInterstate Light" panose="02000506000000020004" pitchFamily="2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s-ES" sz="900" dirty="0">
              <a:solidFill>
                <a:schemeClr val="tx1"/>
              </a:solidFill>
              <a:latin typeface="EYInterstate Light" panose="02000506000000020004" pitchFamily="2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Modelos: </a:t>
            </a:r>
            <a:r>
              <a:rPr lang="es-ES" sz="900" dirty="0" err="1">
                <a:solidFill>
                  <a:schemeClr val="tx1"/>
                </a:solidFill>
                <a:latin typeface="EYInterstate Light" panose="02000506000000020004" pitchFamily="2" charset="0"/>
              </a:rPr>
              <a:t>Logistic</a:t>
            </a: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 </a:t>
            </a:r>
            <a:r>
              <a:rPr lang="es-ES" sz="900" dirty="0" err="1">
                <a:solidFill>
                  <a:schemeClr val="tx1"/>
                </a:solidFill>
                <a:latin typeface="EYInterstate Light" panose="02000506000000020004" pitchFamily="2" charset="0"/>
              </a:rPr>
              <a:t>Regression</a:t>
            </a: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, </a:t>
            </a:r>
            <a:r>
              <a:rPr lang="es-ES" sz="900" dirty="0" err="1">
                <a:solidFill>
                  <a:schemeClr val="tx1"/>
                </a:solidFill>
                <a:latin typeface="EYInterstate Light" panose="02000506000000020004" pitchFamily="2" charset="0"/>
              </a:rPr>
              <a:t>Random</a:t>
            </a:r>
            <a:r>
              <a:rPr lang="es-ES" sz="900" dirty="0">
                <a:solidFill>
                  <a:schemeClr val="tx1"/>
                </a:solidFill>
                <a:latin typeface="EYInterstate Light" panose="02000506000000020004" pitchFamily="2" charset="0"/>
              </a:rPr>
              <a:t> Forest, KNN, SVC, </a:t>
            </a:r>
            <a:endParaRPr lang="es-ES" sz="900" dirty="0">
              <a:solidFill>
                <a:schemeClr val="bg1"/>
              </a:solidFill>
              <a:latin typeface="EYInterstate" panose="02000503020000020004" pitchFamily="2" charset="0"/>
            </a:endParaRPr>
          </a:p>
          <a:p>
            <a:endParaRPr lang="es-ES" sz="900" dirty="0">
              <a:solidFill>
                <a:schemeClr val="tx1"/>
              </a:solidFill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29777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A7677E7-D8A1-4BE8-9A6F-CDA67C35A38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02" r="6165" b="34661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5695A64-94D1-4BF2-B10E-6BA44AB6AE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5695A64-94D1-4BF2-B10E-6BA44AB6AE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ángulo 3">
            <a:extLst>
              <a:ext uri="{FF2B5EF4-FFF2-40B4-BE49-F238E27FC236}">
                <a16:creationId xmlns:a16="http://schemas.microsoft.com/office/drawing/2014/main" id="{8F543AB0-D233-4A76-AA16-7940EA4AFA00}"/>
              </a:ext>
            </a:extLst>
          </p:cNvPr>
          <p:cNvSpPr/>
          <p:nvPr/>
        </p:nvSpPr>
        <p:spPr>
          <a:xfrm>
            <a:off x="-1" y="-12226"/>
            <a:ext cx="4786489" cy="6870225"/>
          </a:xfrm>
          <a:prstGeom prst="rect">
            <a:avLst/>
          </a:prstGeom>
          <a:solidFill>
            <a:srgbClr val="000000">
              <a:alpha val="80000"/>
            </a:srgbClr>
          </a:solidFill>
          <a:ln w="285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  <a:defRPr/>
            </a:pPr>
            <a:endParaRPr lang="es-ES" sz="1600" kern="0" dirty="0">
              <a:solidFill>
                <a:prstClr val="white"/>
              </a:solidFill>
              <a:latin typeface="Calibri" panose="020F0502020204030204"/>
              <a:sym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1BD6EA-139F-4425-BB63-1FDFD6EC17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817" y="5477933"/>
            <a:ext cx="932895" cy="1071168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B4C2BF7E-9BF1-4AC5-B9EC-414B84413EAD}"/>
              </a:ext>
            </a:extLst>
          </p:cNvPr>
          <p:cNvSpPr txBox="1"/>
          <p:nvPr/>
        </p:nvSpPr>
        <p:spPr>
          <a:xfrm>
            <a:off x="324823" y="2344680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n-IN" sz="4267" kern="0" dirty="0">
                <a:solidFill>
                  <a:srgbClr val="FFE600"/>
                </a:solidFill>
                <a:latin typeface="EYInterstate Light" panose="02000506000000020004" pitchFamily="2" charset="0"/>
                <a:cs typeface="Arial"/>
                <a:sym typeface="Arial"/>
              </a:rPr>
              <a:t>03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0DA8AEE-89A6-45D7-87EC-1BE917E937CB}"/>
              </a:ext>
            </a:extLst>
          </p:cNvPr>
          <p:cNvSpPr txBox="1"/>
          <p:nvPr/>
        </p:nvSpPr>
        <p:spPr>
          <a:xfrm>
            <a:off x="1234488" y="2489665"/>
            <a:ext cx="3073896" cy="268200"/>
          </a:xfrm>
          <a:prstGeom prst="rect">
            <a:avLst/>
          </a:prstGeom>
          <a:noFill/>
        </p:spPr>
        <p:txBody>
          <a:bodyPr wrap="square" lIns="37775" tIns="37775" rIns="37775" bIns="37775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s-ES" sz="1467" kern="0" dirty="0">
                <a:latin typeface="EYInterstate Light" panose="02000506000000020004" pitchFamily="2" charset="0"/>
                <a:cs typeface="Arial"/>
                <a:sym typeface="Arial"/>
              </a:rPr>
              <a:t>Análisi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6533B73-7B2D-4B37-8CD4-3F6C71FA819A}"/>
              </a:ext>
            </a:extLst>
          </p:cNvPr>
          <p:cNvSpPr txBox="1"/>
          <p:nvPr/>
        </p:nvSpPr>
        <p:spPr>
          <a:xfrm>
            <a:off x="324823" y="746341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lnSpc>
                <a:spcPct val="85000"/>
              </a:lnSpc>
              <a:spcAft>
                <a:spcPts val="472"/>
              </a:spcAft>
              <a:buClr>
                <a:srgbClr val="FFE600"/>
              </a:buClr>
              <a:buSzPct val="70000"/>
              <a:buNone/>
              <a:tabLst/>
              <a:defRPr kumimoji="0" sz="3200" kern="0" spc="0" normalizeH="0" baseline="0">
                <a:ln>
                  <a:noFill/>
                </a:ln>
                <a:solidFill>
                  <a:srgbClr val="FFD400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1pPr>
          </a:lstStyle>
          <a:p>
            <a:r>
              <a:rPr lang="en-IN" sz="4267" dirty="0">
                <a:solidFill>
                  <a:srgbClr val="E7E6E6">
                    <a:lumMod val="75000"/>
                  </a:srgbClr>
                </a:solidFill>
                <a:cs typeface="Arial"/>
              </a:rPr>
              <a:t>0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FE1FC68-0500-4894-9378-6D94921CAD6E}"/>
              </a:ext>
            </a:extLst>
          </p:cNvPr>
          <p:cNvSpPr txBox="1"/>
          <p:nvPr/>
        </p:nvSpPr>
        <p:spPr>
          <a:xfrm>
            <a:off x="1234488" y="891325"/>
            <a:ext cx="3552000" cy="268200"/>
          </a:xfrm>
          <a:prstGeom prst="rect">
            <a:avLst/>
          </a:prstGeom>
          <a:noFill/>
        </p:spPr>
        <p:txBody>
          <a:bodyPr wrap="square" lIns="37775" tIns="37775" rIns="37775" bIns="37775" rtlCol="0" anchor="ctr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lnSpc>
                <a:spcPct val="85000"/>
              </a:lnSpc>
              <a:spcAft>
                <a:spcPts val="472"/>
              </a:spcAft>
              <a:buClr>
                <a:srgbClr val="FFE600"/>
              </a:buClr>
              <a:buSzPct val="70000"/>
              <a:buNone/>
              <a:tabLst/>
              <a:defRPr kumimoji="0" sz="1100" b="1" kern="0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1pPr>
          </a:lstStyle>
          <a:p>
            <a:r>
              <a:rPr lang="es-ES" sz="1467" dirty="0">
                <a:solidFill>
                  <a:srgbClr val="E7E6E6">
                    <a:lumMod val="75000"/>
                  </a:srgbClr>
                </a:solidFill>
                <a:cs typeface="Arial"/>
                <a:sym typeface="Arial"/>
              </a:rPr>
              <a:t>Contexto</a:t>
            </a:r>
            <a:endParaRPr lang="es-ES" sz="1467" dirty="0">
              <a:solidFill>
                <a:srgbClr val="E7E6E6">
                  <a:lumMod val="75000"/>
                </a:srgbClr>
              </a:solidFill>
              <a:cs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2EDD53A-155F-4C19-B612-A99B0B02B890}"/>
              </a:ext>
            </a:extLst>
          </p:cNvPr>
          <p:cNvSpPr txBox="1"/>
          <p:nvPr/>
        </p:nvSpPr>
        <p:spPr>
          <a:xfrm>
            <a:off x="324823" y="1545527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n-IN" sz="4267" kern="0" dirty="0">
                <a:solidFill>
                  <a:schemeClr val="tx1">
                    <a:lumMod val="65000"/>
                  </a:schemeClr>
                </a:solidFill>
                <a:latin typeface="EYInterstate Light" panose="02000506000000020004" pitchFamily="2" charset="0"/>
                <a:cs typeface="Arial"/>
                <a:sym typeface="Arial"/>
              </a:rPr>
              <a:t>0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37AA954-C5AC-44D1-9A36-F46B272B1EEF}"/>
              </a:ext>
            </a:extLst>
          </p:cNvPr>
          <p:cNvSpPr txBox="1"/>
          <p:nvPr/>
        </p:nvSpPr>
        <p:spPr>
          <a:xfrm>
            <a:off x="1234488" y="1690511"/>
            <a:ext cx="3073896" cy="268200"/>
          </a:xfrm>
          <a:prstGeom prst="rect">
            <a:avLst/>
          </a:prstGeom>
          <a:noFill/>
        </p:spPr>
        <p:txBody>
          <a:bodyPr wrap="square" lIns="37775" tIns="37775" rIns="37775" bIns="37775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s-ES" sz="1467" kern="0" dirty="0">
                <a:solidFill>
                  <a:schemeClr val="tx1">
                    <a:lumMod val="65000"/>
                  </a:schemeClr>
                </a:solidFill>
                <a:latin typeface="EYInterstate Light" panose="02000506000000020004" pitchFamily="2" charset="0"/>
                <a:cs typeface="Arial"/>
                <a:sym typeface="Arial"/>
              </a:rPr>
              <a:t>Model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7ACDF1-255D-4DCC-A589-D1F135432D6E}"/>
              </a:ext>
            </a:extLst>
          </p:cNvPr>
          <p:cNvSpPr txBox="1"/>
          <p:nvPr/>
        </p:nvSpPr>
        <p:spPr>
          <a:xfrm>
            <a:off x="324823" y="3143803"/>
            <a:ext cx="679673" cy="5581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n-IN" sz="4267" kern="0" dirty="0">
                <a:solidFill>
                  <a:srgbClr val="E7E6E6">
                    <a:lumMod val="75000"/>
                  </a:srgbClr>
                </a:solidFill>
                <a:latin typeface="EYInterstate Light" panose="02000506000000020004" pitchFamily="2" charset="0"/>
                <a:cs typeface="Arial"/>
                <a:sym typeface="Arial"/>
              </a:rPr>
              <a:t>0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9B14C04-4059-4E5D-A5F6-1CCCBA6E5C16}"/>
              </a:ext>
            </a:extLst>
          </p:cNvPr>
          <p:cNvSpPr txBox="1"/>
          <p:nvPr/>
        </p:nvSpPr>
        <p:spPr>
          <a:xfrm>
            <a:off x="1234488" y="3283002"/>
            <a:ext cx="3073896" cy="268200"/>
          </a:xfrm>
          <a:prstGeom prst="rect">
            <a:avLst/>
          </a:prstGeom>
          <a:noFill/>
        </p:spPr>
        <p:txBody>
          <a:bodyPr wrap="square" lIns="37775" tIns="37775" rIns="37775" bIns="37775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629"/>
              </a:spcAft>
              <a:buClr>
                <a:srgbClr val="FFE600"/>
              </a:buClr>
              <a:buSzPct val="70000"/>
              <a:defRPr/>
            </a:pPr>
            <a:r>
              <a:rPr lang="es-ES" sz="1467" kern="0" dirty="0">
                <a:solidFill>
                  <a:srgbClr val="E7E6E6">
                    <a:lumMod val="75000"/>
                  </a:srgbClr>
                </a:solidFill>
                <a:latin typeface="EYInterstate Light" panose="02000506000000020004" pitchFamily="2" charset="0"/>
                <a:cs typeface="Arial"/>
                <a:sym typeface="Arial"/>
              </a:rPr>
              <a:t>Visualización</a:t>
            </a:r>
          </a:p>
        </p:txBody>
      </p:sp>
    </p:spTree>
    <p:extLst>
      <p:ext uri="{BB962C8B-B14F-4D97-AF65-F5344CB8AC3E}">
        <p14:creationId xmlns:p14="http://schemas.microsoft.com/office/powerpoint/2010/main" val="37058187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" name="Object 121" hidden="1">
            <a:extLst>
              <a:ext uri="{FF2B5EF4-FFF2-40B4-BE49-F238E27FC236}">
                <a16:creationId xmlns:a16="http://schemas.microsoft.com/office/drawing/2014/main" id="{AE2CA59D-7605-4475-A57F-B15B9CB887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16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2" name="Object 121" hidden="1">
                        <a:extLst>
                          <a:ext uri="{FF2B5EF4-FFF2-40B4-BE49-F238E27FC236}">
                            <a16:creationId xmlns:a16="http://schemas.microsoft.com/office/drawing/2014/main" id="{AE2CA59D-7605-4475-A57F-B15B9CB887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072804-5B54-4C65-9776-FA01200177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IN"/>
              <a:t>2022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C74607-DF9A-4043-8B0A-5FFDBF012E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s-ES" smtClean="0"/>
              <a:pPr/>
              <a:t>8</a:t>
            </a:fld>
            <a:endParaRPr lang="es-ES" dirty="0"/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82A7BFA5-C219-416F-8019-58B785FEBA4C}"/>
              </a:ext>
            </a:extLst>
          </p:cNvPr>
          <p:cNvGrpSpPr/>
          <p:nvPr/>
        </p:nvGrpSpPr>
        <p:grpSpPr>
          <a:xfrm>
            <a:off x="3902894" y="1773432"/>
            <a:ext cx="3653746" cy="3653746"/>
            <a:chOff x="3669214" y="2105785"/>
            <a:chExt cx="3653746" cy="3653746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1ABC750C-D5FE-4DEC-8A11-D9B5FA48BAF7}"/>
                </a:ext>
              </a:extLst>
            </p:cNvPr>
            <p:cNvSpPr/>
            <p:nvPr/>
          </p:nvSpPr>
          <p:spPr>
            <a:xfrm>
              <a:off x="4586496" y="5194216"/>
              <a:ext cx="232474" cy="232474"/>
            </a:xfrm>
            <a:prstGeom prst="ellipse">
              <a:avLst/>
            </a:prstGeom>
            <a:noFill/>
            <a:ln w="25400" cap="flat" cmpd="sng" algn="ctr">
              <a:solidFill>
                <a:srgbClr val="FFB6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kern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355F7028-B865-4CEF-9A18-CA7C44AEAFF7}"/>
                </a:ext>
              </a:extLst>
            </p:cNvPr>
            <p:cNvSpPr/>
            <p:nvPr/>
          </p:nvSpPr>
          <p:spPr>
            <a:xfrm>
              <a:off x="6880116" y="3643344"/>
              <a:ext cx="232474" cy="232474"/>
            </a:xfrm>
            <a:prstGeom prst="ellipse">
              <a:avLst/>
            </a:prstGeom>
            <a:noFill/>
            <a:ln w="25400" cap="flat" cmpd="sng" algn="ctr">
              <a:solidFill>
                <a:srgbClr val="FFB6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kern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EDD01906-43A3-451E-988E-C81473290EEB}"/>
                </a:ext>
              </a:extLst>
            </p:cNvPr>
            <p:cNvSpPr/>
            <p:nvPr/>
          </p:nvSpPr>
          <p:spPr>
            <a:xfrm>
              <a:off x="4304423" y="4971807"/>
              <a:ext cx="232474" cy="232474"/>
            </a:xfrm>
            <a:prstGeom prst="ellipse">
              <a:avLst/>
            </a:prstGeom>
            <a:noFill/>
            <a:ln w="25400" cap="flat" cmpd="sng" algn="ctr">
              <a:solidFill>
                <a:srgbClr val="FFB6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kern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7B48D250-7559-4D79-A50C-819938589694}"/>
                </a:ext>
              </a:extLst>
            </p:cNvPr>
            <p:cNvSpPr/>
            <p:nvPr/>
          </p:nvSpPr>
          <p:spPr>
            <a:xfrm>
              <a:off x="6140976" y="2397676"/>
              <a:ext cx="232474" cy="232474"/>
            </a:xfrm>
            <a:prstGeom prst="ellipse">
              <a:avLst/>
            </a:prstGeom>
            <a:noFill/>
            <a:ln w="25400" cap="flat" cmpd="sng" algn="ctr">
              <a:solidFill>
                <a:srgbClr val="FFB6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kern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31270A8-7801-439A-B476-C9ABB9BF994F}"/>
                </a:ext>
              </a:extLst>
            </p:cNvPr>
            <p:cNvSpPr/>
            <p:nvPr/>
          </p:nvSpPr>
          <p:spPr>
            <a:xfrm>
              <a:off x="4707383" y="2362542"/>
              <a:ext cx="232474" cy="232474"/>
            </a:xfrm>
            <a:prstGeom prst="ellipse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kern="0">
                <a:solidFill>
                  <a:srgbClr val="FFFFFF"/>
                </a:solidFill>
                <a:latin typeface="Calibri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20C808DA-001D-4E21-A253-5873F18F31D9}"/>
                </a:ext>
              </a:extLst>
            </p:cNvPr>
            <p:cNvGrpSpPr/>
            <p:nvPr/>
          </p:nvGrpSpPr>
          <p:grpSpPr>
            <a:xfrm>
              <a:off x="3669214" y="2105785"/>
              <a:ext cx="3653746" cy="3653746"/>
              <a:chOff x="3669214" y="2105785"/>
              <a:chExt cx="3653746" cy="3653746"/>
            </a:xfrm>
          </p:grpSpPr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F23E4CF8-4504-4EAF-BA6F-CCF08A00BDC9}"/>
                  </a:ext>
                </a:extLst>
              </p:cNvPr>
              <p:cNvSpPr/>
              <p:nvPr/>
            </p:nvSpPr>
            <p:spPr bwMode="ltGray">
              <a:xfrm>
                <a:off x="3669214" y="2105785"/>
                <a:ext cx="3653746" cy="3653746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968C6D"/>
                </a:solidFill>
                <a:prstDash val="sysDot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1882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itchFamily="18" charset="0"/>
                  <a:ea typeface="+mn-ea"/>
                  <a:cs typeface="+mn-cs"/>
                </a:endParaRPr>
              </a:p>
            </p:txBody>
          </p:sp>
          <p:grpSp>
            <p:nvGrpSpPr>
              <p:cNvPr id="64" name="Group 60">
                <a:extLst>
                  <a:ext uri="{FF2B5EF4-FFF2-40B4-BE49-F238E27FC236}">
                    <a16:creationId xmlns:a16="http://schemas.microsoft.com/office/drawing/2014/main" id="{AB2D60AC-6DC3-4FB2-A167-CAA33A91255F}"/>
                  </a:ext>
                </a:extLst>
              </p:cNvPr>
              <p:cNvGrpSpPr/>
              <p:nvPr/>
            </p:nvGrpSpPr>
            <p:grpSpPr>
              <a:xfrm>
                <a:off x="4097664" y="2549688"/>
                <a:ext cx="2796846" cy="2765940"/>
                <a:chOff x="6622490" y="3604567"/>
                <a:chExt cx="1504120" cy="1439862"/>
              </a:xfrm>
            </p:grpSpPr>
            <p:sp>
              <p:nvSpPr>
                <p:cNvPr id="71" name="Freeform 31">
                  <a:extLst>
                    <a:ext uri="{FF2B5EF4-FFF2-40B4-BE49-F238E27FC236}">
                      <a16:creationId xmlns:a16="http://schemas.microsoft.com/office/drawing/2014/main" id="{2F404DA8-20E8-4E73-8662-4EE57D5FF67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624726" y="4122092"/>
                  <a:ext cx="501884" cy="769937"/>
                </a:xfrm>
                <a:custGeom>
                  <a:avLst/>
                  <a:gdLst>
                    <a:gd name="T0" fmla="*/ 419864371 w 185"/>
                    <a:gd name="T1" fmla="*/ 524194832 h 297"/>
                    <a:gd name="T2" fmla="*/ 0 w 185"/>
                    <a:gd name="T3" fmla="*/ 1276881985 h 297"/>
                    <a:gd name="T4" fmla="*/ 609990174 w 185"/>
                    <a:gd name="T5" fmla="*/ 1995969471 h 297"/>
                    <a:gd name="T6" fmla="*/ 1465559274 w 185"/>
                    <a:gd name="T7" fmla="*/ 524194832 h 297"/>
                    <a:gd name="T8" fmla="*/ 1378416639 w 185"/>
                    <a:gd name="T9" fmla="*/ 0 h 297"/>
                    <a:gd name="T10" fmla="*/ 380254595 w 185"/>
                    <a:gd name="T11" fmla="*/ 268816864 h 297"/>
                    <a:gd name="T12" fmla="*/ 419864371 w 185"/>
                    <a:gd name="T13" fmla="*/ 524194832 h 2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5"/>
                    <a:gd name="T22" fmla="*/ 0 h 297"/>
                    <a:gd name="T23" fmla="*/ 185 w 185"/>
                    <a:gd name="T24" fmla="*/ 297 h 2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5" h="297">
                      <a:moveTo>
                        <a:pt x="53" y="78"/>
                      </a:moveTo>
                      <a:cubicBezTo>
                        <a:pt x="53" y="123"/>
                        <a:pt x="32" y="164"/>
                        <a:pt x="0" y="190"/>
                      </a:cubicBezTo>
                      <a:cubicBezTo>
                        <a:pt x="77" y="297"/>
                        <a:pt x="77" y="297"/>
                        <a:pt x="77" y="297"/>
                      </a:cubicBezTo>
                      <a:cubicBezTo>
                        <a:pt x="143" y="246"/>
                        <a:pt x="185" y="167"/>
                        <a:pt x="185" y="78"/>
                      </a:cubicBezTo>
                      <a:cubicBezTo>
                        <a:pt x="185" y="51"/>
                        <a:pt x="181" y="24"/>
                        <a:pt x="174" y="0"/>
                      </a:cubicBezTo>
                      <a:cubicBezTo>
                        <a:pt x="48" y="40"/>
                        <a:pt x="48" y="40"/>
                        <a:pt x="48" y="40"/>
                      </a:cubicBezTo>
                      <a:cubicBezTo>
                        <a:pt x="51" y="52"/>
                        <a:pt x="53" y="65"/>
                        <a:pt x="53" y="78"/>
                      </a:cubicBezTo>
                      <a:close/>
                    </a:path>
                  </a:pathLst>
                </a:custGeom>
                <a:solidFill>
                  <a:srgbClr val="E0301E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018824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</a:endParaRPr>
                </a:p>
              </p:txBody>
            </p:sp>
            <p:sp>
              <p:nvSpPr>
                <p:cNvPr id="72" name="Freeform 32">
                  <a:extLst>
                    <a:ext uri="{FF2B5EF4-FFF2-40B4-BE49-F238E27FC236}">
                      <a16:creationId xmlns:a16="http://schemas.microsoft.com/office/drawing/2014/main" id="{AE5C4AE3-39BF-4EA5-B4D9-B42FFF20B80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398267" y="3604567"/>
                  <a:ext cx="680910" cy="581025"/>
                </a:xfrm>
                <a:custGeom>
                  <a:avLst/>
                  <a:gdLst>
                    <a:gd name="T0" fmla="*/ 0 w 252"/>
                    <a:gd name="T1" fmla="*/ 0 h 224"/>
                    <a:gd name="T2" fmla="*/ 0 w 252"/>
                    <a:gd name="T3" fmla="*/ 888112358 h 224"/>
                    <a:gd name="T4" fmla="*/ 998045623 w 252"/>
                    <a:gd name="T5" fmla="*/ 1507098678 h 224"/>
                    <a:gd name="T6" fmla="*/ 1980375808 w 252"/>
                    <a:gd name="T7" fmla="*/ 1231246435 h 224"/>
                    <a:gd name="T8" fmla="*/ 0 w 252"/>
                    <a:gd name="T9" fmla="*/ 0 h 2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52"/>
                    <a:gd name="T16" fmla="*/ 0 h 224"/>
                    <a:gd name="T17" fmla="*/ 252 w 252"/>
                    <a:gd name="T18" fmla="*/ 224 h 22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52" h="224">
                      <a:moveTo>
                        <a:pt x="0" y="0"/>
                      </a:moveTo>
                      <a:cubicBezTo>
                        <a:pt x="0" y="132"/>
                        <a:pt x="0" y="132"/>
                        <a:pt x="0" y="132"/>
                      </a:cubicBezTo>
                      <a:cubicBezTo>
                        <a:pt x="58" y="135"/>
                        <a:pt x="106" y="173"/>
                        <a:pt x="127" y="224"/>
                      </a:cubicBezTo>
                      <a:cubicBezTo>
                        <a:pt x="252" y="183"/>
                        <a:pt x="252" y="183"/>
                        <a:pt x="252" y="183"/>
                      </a:cubicBezTo>
                      <a:cubicBezTo>
                        <a:pt x="215" y="79"/>
                        <a:pt x="116" y="4"/>
                        <a:pt x="0" y="0"/>
                      </a:cubicBezTo>
                      <a:close/>
                    </a:path>
                  </a:pathLst>
                </a:custGeom>
                <a:solidFill>
                  <a:srgbClr val="DC6900"/>
                </a:solidFill>
                <a:ln w="3175" cap="flat" cmpd="sng">
                  <a:noFill/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1018824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</a:endParaRPr>
                </a:p>
              </p:txBody>
            </p:sp>
            <p:sp>
              <p:nvSpPr>
                <p:cNvPr id="73" name="Freeform 33">
                  <a:extLst>
                    <a:ext uri="{FF2B5EF4-FFF2-40B4-BE49-F238E27FC236}">
                      <a16:creationId xmlns:a16="http://schemas.microsoft.com/office/drawing/2014/main" id="{4A607E93-F048-44DE-A46F-FCFE679AA1E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949938" y="4641204"/>
                  <a:ext cx="844634" cy="403225"/>
                </a:xfrm>
                <a:custGeom>
                  <a:avLst/>
                  <a:gdLst>
                    <a:gd name="T0" fmla="*/ 1230599439 w 313"/>
                    <a:gd name="T1" fmla="*/ 160346535 h 156"/>
                    <a:gd name="T2" fmla="*/ 611380168 w 313"/>
                    <a:gd name="T3" fmla="*/ 6681645 h 156"/>
                    <a:gd name="T4" fmla="*/ 0 w 313"/>
                    <a:gd name="T5" fmla="*/ 714874027 h 156"/>
                    <a:gd name="T6" fmla="*/ 1230599439 w 313"/>
                    <a:gd name="T7" fmla="*/ 1042246073 h 156"/>
                    <a:gd name="T8" fmla="*/ 2147483647 w 313"/>
                    <a:gd name="T9" fmla="*/ 714874027 h 156"/>
                    <a:gd name="T10" fmla="*/ 1849818884 w 313"/>
                    <a:gd name="T11" fmla="*/ 0 h 156"/>
                    <a:gd name="T12" fmla="*/ 1230599439 w 313"/>
                    <a:gd name="T13" fmla="*/ 160346535 h 1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3"/>
                    <a:gd name="T22" fmla="*/ 0 h 156"/>
                    <a:gd name="T23" fmla="*/ 313 w 313"/>
                    <a:gd name="T24" fmla="*/ 156 h 15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3" h="156">
                      <a:moveTo>
                        <a:pt x="157" y="24"/>
                      </a:moveTo>
                      <a:cubicBezTo>
                        <a:pt x="128" y="24"/>
                        <a:pt x="101" y="15"/>
                        <a:pt x="78" y="1"/>
                      </a:cubicBezTo>
                      <a:cubicBezTo>
                        <a:pt x="0" y="107"/>
                        <a:pt x="0" y="107"/>
                        <a:pt x="0" y="107"/>
                      </a:cubicBezTo>
                      <a:cubicBezTo>
                        <a:pt x="45" y="138"/>
                        <a:pt x="99" y="156"/>
                        <a:pt x="157" y="156"/>
                      </a:cubicBezTo>
                      <a:cubicBezTo>
                        <a:pt x="215" y="156"/>
                        <a:pt x="269" y="138"/>
                        <a:pt x="313" y="107"/>
                      </a:cubicBezTo>
                      <a:cubicBezTo>
                        <a:pt x="236" y="0"/>
                        <a:pt x="236" y="0"/>
                        <a:pt x="236" y="0"/>
                      </a:cubicBezTo>
                      <a:cubicBezTo>
                        <a:pt x="213" y="15"/>
                        <a:pt x="186" y="24"/>
                        <a:pt x="157" y="24"/>
                      </a:cubicBezTo>
                      <a:close/>
                    </a:path>
                  </a:pathLst>
                </a:custGeom>
                <a:solidFill>
                  <a:srgbClr val="EB8C00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018824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</a:endParaRPr>
                </a:p>
              </p:txBody>
            </p:sp>
            <p:sp>
              <p:nvSpPr>
                <p:cNvPr id="74" name="Freeform 34">
                  <a:extLst>
                    <a:ext uri="{FF2B5EF4-FFF2-40B4-BE49-F238E27FC236}">
                      <a16:creationId xmlns:a16="http://schemas.microsoft.com/office/drawing/2014/main" id="{23FC2E8A-69E0-4272-8C97-9D04D49B53E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665333" y="3604567"/>
                  <a:ext cx="685500" cy="581025"/>
                </a:xfrm>
                <a:custGeom>
                  <a:avLst/>
                  <a:gdLst>
                    <a:gd name="T0" fmla="*/ 1999231209 w 253"/>
                    <a:gd name="T1" fmla="*/ 888112358 h 224"/>
                    <a:gd name="T2" fmla="*/ 1999231209 w 253"/>
                    <a:gd name="T3" fmla="*/ 0 h 224"/>
                    <a:gd name="T4" fmla="*/ 0 w 253"/>
                    <a:gd name="T5" fmla="*/ 1231246435 h 224"/>
                    <a:gd name="T6" fmla="*/ 995663245 w 253"/>
                    <a:gd name="T7" fmla="*/ 1507098678 h 224"/>
                    <a:gd name="T8" fmla="*/ 1999231209 w 253"/>
                    <a:gd name="T9" fmla="*/ 888112358 h 2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53"/>
                    <a:gd name="T16" fmla="*/ 0 h 224"/>
                    <a:gd name="T17" fmla="*/ 253 w 253"/>
                    <a:gd name="T18" fmla="*/ 224 h 22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53" h="224">
                      <a:moveTo>
                        <a:pt x="253" y="132"/>
                      </a:moveTo>
                      <a:cubicBezTo>
                        <a:pt x="253" y="0"/>
                        <a:pt x="253" y="0"/>
                        <a:pt x="253" y="0"/>
                      </a:cubicBezTo>
                      <a:cubicBezTo>
                        <a:pt x="137" y="3"/>
                        <a:pt x="38" y="79"/>
                        <a:pt x="0" y="183"/>
                      </a:cubicBezTo>
                      <a:cubicBezTo>
                        <a:pt x="126" y="224"/>
                        <a:pt x="126" y="224"/>
                        <a:pt x="126" y="224"/>
                      </a:cubicBezTo>
                      <a:cubicBezTo>
                        <a:pt x="146" y="173"/>
                        <a:pt x="195" y="135"/>
                        <a:pt x="253" y="132"/>
                      </a:cubicBezTo>
                      <a:close/>
                    </a:path>
                  </a:pathLst>
                </a:custGeom>
                <a:solidFill>
                  <a:srgbClr val="968C6D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018824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</a:endParaRPr>
                </a:p>
              </p:txBody>
            </p:sp>
            <p:sp>
              <p:nvSpPr>
                <p:cNvPr id="75" name="Freeform 35">
                  <a:extLst>
                    <a:ext uri="{FF2B5EF4-FFF2-40B4-BE49-F238E27FC236}">
                      <a16:creationId xmlns:a16="http://schemas.microsoft.com/office/drawing/2014/main" id="{0975CDA7-9705-46C8-A384-63DDF41E880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622490" y="4122092"/>
                  <a:ext cx="498823" cy="769937"/>
                </a:xfrm>
                <a:custGeom>
                  <a:avLst/>
                  <a:gdLst>
                    <a:gd name="T0" fmla="*/ 1032982706 w 185"/>
                    <a:gd name="T1" fmla="*/ 524194832 h 297"/>
                    <a:gd name="T2" fmla="*/ 1072110381 w 185"/>
                    <a:gd name="T3" fmla="*/ 268816864 h 297"/>
                    <a:gd name="T4" fmla="*/ 86082584 w 185"/>
                    <a:gd name="T5" fmla="*/ 0 h 297"/>
                    <a:gd name="T6" fmla="*/ 0 w 185"/>
                    <a:gd name="T7" fmla="*/ 524194832 h 297"/>
                    <a:gd name="T8" fmla="*/ 845168750 w 185"/>
                    <a:gd name="T9" fmla="*/ 1995969471 h 297"/>
                    <a:gd name="T10" fmla="*/ 1447741092 w 185"/>
                    <a:gd name="T11" fmla="*/ 1283604025 h 297"/>
                    <a:gd name="T12" fmla="*/ 1032982706 w 185"/>
                    <a:gd name="T13" fmla="*/ 524194832 h 2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5"/>
                    <a:gd name="T22" fmla="*/ 0 h 297"/>
                    <a:gd name="T23" fmla="*/ 185 w 185"/>
                    <a:gd name="T24" fmla="*/ 297 h 2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5" h="297">
                      <a:moveTo>
                        <a:pt x="132" y="78"/>
                      </a:moveTo>
                      <a:cubicBezTo>
                        <a:pt x="132" y="65"/>
                        <a:pt x="134" y="52"/>
                        <a:pt x="137" y="4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4" y="24"/>
                        <a:pt x="0" y="51"/>
                        <a:pt x="0" y="78"/>
                      </a:cubicBezTo>
                      <a:cubicBezTo>
                        <a:pt x="0" y="167"/>
                        <a:pt x="42" y="246"/>
                        <a:pt x="108" y="297"/>
                      </a:cubicBezTo>
                      <a:cubicBezTo>
                        <a:pt x="185" y="191"/>
                        <a:pt x="185" y="191"/>
                        <a:pt x="185" y="191"/>
                      </a:cubicBezTo>
                      <a:cubicBezTo>
                        <a:pt x="153" y="164"/>
                        <a:pt x="132" y="123"/>
                        <a:pt x="132" y="78"/>
                      </a:cubicBezTo>
                      <a:close/>
                    </a:path>
                  </a:pathLst>
                </a:custGeom>
                <a:solidFill>
                  <a:srgbClr val="A32020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1018824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</a:endParaRPr>
                </a:p>
              </p:txBody>
            </p:sp>
          </p:grp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13B7D2AC-3F51-4A47-B820-1E208D8A45B1}"/>
                  </a:ext>
                </a:extLst>
              </p:cNvPr>
              <p:cNvSpPr/>
              <p:nvPr/>
            </p:nvSpPr>
            <p:spPr bwMode="ltGray">
              <a:xfrm>
                <a:off x="4807190" y="3243634"/>
                <a:ext cx="1368000" cy="136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968C6D"/>
                </a:solidFill>
                <a:prstDash val="sysDot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1882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itchFamily="18" charset="0"/>
                  <a:ea typeface="+mn-ea"/>
                  <a:cs typeface="+mn-cs"/>
                </a:endParaRPr>
              </a:p>
            </p:txBody>
          </p: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96B1D393-0217-463C-9954-22D57F283B48}"/>
                  </a:ext>
                </a:extLst>
              </p:cNvPr>
              <p:cNvCxnSpPr>
                <a:stCxn id="63" idx="0"/>
                <a:endCxn id="65" idx="0"/>
              </p:cNvCxnSpPr>
              <p:nvPr/>
            </p:nvCxnSpPr>
            <p:spPr>
              <a:xfrm flipH="1">
                <a:off x="5491190" y="2105785"/>
                <a:ext cx="4897" cy="1137849"/>
              </a:xfrm>
              <a:prstGeom prst="line">
                <a:avLst/>
              </a:prstGeom>
              <a:noFill/>
              <a:ln w="12700" cap="flat" cmpd="sng" algn="ctr">
                <a:solidFill>
                  <a:srgbClr val="968C6D"/>
                </a:solidFill>
                <a:prstDash val="sysDot"/>
              </a:ln>
              <a:effectLst/>
            </p:spPr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88837430-2D28-4236-B803-4396D6F54BCF}"/>
                  </a:ext>
                </a:extLst>
              </p:cNvPr>
              <p:cNvCxnSpPr/>
              <p:nvPr/>
            </p:nvCxnSpPr>
            <p:spPr>
              <a:xfrm>
                <a:off x="3753332" y="3364587"/>
                <a:ext cx="1094820" cy="356739"/>
              </a:xfrm>
              <a:prstGeom prst="line">
                <a:avLst/>
              </a:prstGeom>
              <a:noFill/>
              <a:ln w="12700" cap="flat" cmpd="sng" algn="ctr">
                <a:solidFill>
                  <a:srgbClr val="968C6D"/>
                </a:solidFill>
                <a:prstDash val="sysDot"/>
              </a:ln>
              <a:effectLst/>
            </p:spPr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E14498D1-1FA0-4345-89B1-C971A0B4887B}"/>
                  </a:ext>
                </a:extLst>
              </p:cNvPr>
              <p:cNvCxnSpPr/>
              <p:nvPr/>
            </p:nvCxnSpPr>
            <p:spPr>
              <a:xfrm flipV="1">
                <a:off x="4409404" y="4484009"/>
                <a:ext cx="676574" cy="914400"/>
              </a:xfrm>
              <a:prstGeom prst="line">
                <a:avLst/>
              </a:prstGeom>
              <a:noFill/>
              <a:ln w="12700" cap="flat" cmpd="sng" algn="ctr">
                <a:solidFill>
                  <a:srgbClr val="968C6D"/>
                </a:solidFill>
                <a:prstDash val="sysDot"/>
              </a:ln>
              <a:effectLst/>
            </p:spPr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6DAB3287-4B30-4E16-B2F2-A2D2BBD446D1}"/>
                  </a:ext>
                </a:extLst>
              </p:cNvPr>
              <p:cNvCxnSpPr/>
              <p:nvPr/>
            </p:nvCxnSpPr>
            <p:spPr>
              <a:xfrm flipH="1" flipV="1">
                <a:off x="5910169" y="4496311"/>
                <a:ext cx="656071" cy="906199"/>
              </a:xfrm>
              <a:prstGeom prst="line">
                <a:avLst/>
              </a:prstGeom>
              <a:noFill/>
              <a:ln w="12700" cap="flat" cmpd="sng" algn="ctr">
                <a:solidFill>
                  <a:srgbClr val="968C6D"/>
                </a:solidFill>
                <a:prstDash val="sysDot"/>
              </a:ln>
              <a:effectLst/>
            </p:spPr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D72CFE49-B1AA-4AB7-AA9F-C1F2D7131D04}"/>
                  </a:ext>
                </a:extLst>
              </p:cNvPr>
              <p:cNvCxnSpPr/>
              <p:nvPr/>
            </p:nvCxnSpPr>
            <p:spPr>
              <a:xfrm flipH="1">
                <a:off x="6152094" y="3360486"/>
                <a:ext cx="1082519" cy="360840"/>
              </a:xfrm>
              <a:prstGeom prst="line">
                <a:avLst/>
              </a:prstGeom>
              <a:noFill/>
              <a:ln w="12700" cap="flat" cmpd="sng" algn="ctr">
                <a:solidFill>
                  <a:srgbClr val="968C6D"/>
                </a:solidFill>
                <a:prstDash val="sysDot"/>
              </a:ln>
              <a:effectLst/>
            </p:spPr>
          </p:cxnSp>
        </p:grp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8801A609-2D06-4AB7-B799-77004C0202F1}"/>
                </a:ext>
              </a:extLst>
            </p:cNvPr>
            <p:cNvSpPr txBox="1"/>
            <p:nvPr/>
          </p:nvSpPr>
          <p:spPr>
            <a:xfrm rot="19521670">
              <a:off x="3986662" y="2573322"/>
              <a:ext cx="2282228" cy="1653963"/>
            </a:xfrm>
            <a:prstGeom prst="rect">
              <a:avLst/>
            </a:prstGeom>
            <a:noFill/>
            <a:ln w="38100">
              <a:noFill/>
            </a:ln>
          </p:spPr>
          <p:txBody>
            <a:bodyPr vert="horz" wrap="square" lIns="0" tIns="0" rIns="0" bIns="0" rtlCol="0">
              <a:prstTxWarp prst="textArchUp">
                <a:avLst/>
              </a:prstTxWarp>
              <a:noAutofit/>
            </a:bodyPr>
            <a:lstStyle/>
            <a:p>
              <a:pPr indent="-274320" algn="ctr" defTabSz="1018824">
                <a:spcAft>
                  <a:spcPts val="900"/>
                </a:spcAft>
              </a:pPr>
              <a:r>
                <a:rPr lang="en-GB" sz="1400" b="1" dirty="0">
                  <a:solidFill>
                    <a:srgbClr val="968C6D"/>
                  </a:solidFill>
                  <a:latin typeface="Georgia" pitchFamily="18" charset="0"/>
                </a:rPr>
                <a:t>Random Forest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15BBE202-A662-45B7-9F79-22B9DE9592FA}"/>
                </a:ext>
              </a:extLst>
            </p:cNvPr>
            <p:cNvSpPr txBox="1"/>
            <p:nvPr/>
          </p:nvSpPr>
          <p:spPr>
            <a:xfrm rot="2385822">
              <a:off x="4739516" y="2571911"/>
              <a:ext cx="2282228" cy="1653963"/>
            </a:xfrm>
            <a:prstGeom prst="rect">
              <a:avLst/>
            </a:prstGeom>
            <a:noFill/>
            <a:ln w="38100">
              <a:noFill/>
            </a:ln>
          </p:spPr>
          <p:txBody>
            <a:bodyPr vert="horz" wrap="square" lIns="0" tIns="0" rIns="0" bIns="0" rtlCol="0">
              <a:prstTxWarp prst="textArchUp">
                <a:avLst/>
              </a:prstTxWarp>
              <a:noAutofit/>
            </a:bodyPr>
            <a:lstStyle/>
            <a:p>
              <a:pPr indent="-274320" algn="ctr" defTabSz="1018824">
                <a:spcAft>
                  <a:spcPts val="900"/>
                </a:spcAft>
              </a:pPr>
              <a:r>
                <a:rPr lang="en-GB" sz="1400" b="1" dirty="0">
                  <a:solidFill>
                    <a:srgbClr val="DC6900"/>
                  </a:solidFill>
                  <a:latin typeface="Georgia" pitchFamily="18" charset="0"/>
                </a:rPr>
                <a:t>Log Regression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767CAB1C-A4B2-4A9B-9E44-D35C4D5B6674}"/>
                </a:ext>
              </a:extLst>
            </p:cNvPr>
            <p:cNvSpPr txBox="1"/>
            <p:nvPr/>
          </p:nvSpPr>
          <p:spPr>
            <a:xfrm rot="17284706">
              <a:off x="5204560" y="3356414"/>
              <a:ext cx="2282228" cy="1653963"/>
            </a:xfrm>
            <a:prstGeom prst="rect">
              <a:avLst/>
            </a:prstGeom>
            <a:noFill/>
            <a:ln w="38100">
              <a:noFill/>
            </a:ln>
          </p:spPr>
          <p:txBody>
            <a:bodyPr vert="horz" wrap="square" lIns="0" tIns="0" rIns="0" bIns="0" rtlCol="0">
              <a:prstTxWarp prst="textArchDown">
                <a:avLst/>
              </a:prstTxWarp>
              <a:noAutofit/>
            </a:bodyPr>
            <a:lstStyle/>
            <a:p>
              <a:pPr indent="-274320" algn="ctr" defTabSz="1018824">
                <a:spcAft>
                  <a:spcPts val="900"/>
                </a:spcAft>
              </a:pPr>
              <a:r>
                <a:rPr lang="en-GB" sz="1400" b="1" dirty="0">
                  <a:solidFill>
                    <a:srgbClr val="E0301E"/>
                  </a:solidFill>
                  <a:latin typeface="Georgia" pitchFamily="18" charset="0"/>
                </a:rPr>
                <a:t>KNN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82B88D6F-F1FE-407D-AD4F-74A2BC76278C}"/>
                </a:ext>
              </a:extLst>
            </p:cNvPr>
            <p:cNvSpPr txBox="1"/>
            <p:nvPr/>
          </p:nvSpPr>
          <p:spPr>
            <a:xfrm>
              <a:off x="4347165" y="3977654"/>
              <a:ext cx="2282228" cy="1653963"/>
            </a:xfrm>
            <a:prstGeom prst="rect">
              <a:avLst/>
            </a:prstGeom>
            <a:noFill/>
            <a:ln w="38100">
              <a:noFill/>
            </a:ln>
          </p:spPr>
          <p:txBody>
            <a:bodyPr vert="horz" wrap="square" lIns="0" tIns="0" rIns="0" bIns="0" rtlCol="0">
              <a:prstTxWarp prst="textArchDown">
                <a:avLst/>
              </a:prstTxWarp>
              <a:noAutofit/>
            </a:bodyPr>
            <a:lstStyle/>
            <a:p>
              <a:pPr indent="-274320" algn="ctr" defTabSz="1018824">
                <a:spcAft>
                  <a:spcPts val="900"/>
                </a:spcAft>
              </a:pPr>
              <a:r>
                <a:rPr lang="en-GB" sz="1400" b="1" dirty="0">
                  <a:solidFill>
                    <a:srgbClr val="EB8C00"/>
                  </a:solidFill>
                  <a:latin typeface="Georgia" pitchFamily="18" charset="0"/>
                </a:rPr>
                <a:t>SVC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5B4AFEAF-CD7E-4D6A-A0F8-AEC421874F3C}"/>
                </a:ext>
              </a:extLst>
            </p:cNvPr>
            <p:cNvSpPr txBox="1"/>
            <p:nvPr/>
          </p:nvSpPr>
          <p:spPr>
            <a:xfrm rot="4222735">
              <a:off x="3547496" y="3442107"/>
              <a:ext cx="2282228" cy="1653963"/>
            </a:xfrm>
            <a:prstGeom prst="rect">
              <a:avLst/>
            </a:prstGeom>
            <a:noFill/>
            <a:ln w="38100">
              <a:noFill/>
            </a:ln>
          </p:spPr>
          <p:txBody>
            <a:bodyPr vert="horz" wrap="square" lIns="0" tIns="0" rIns="0" bIns="0" rtlCol="0">
              <a:prstTxWarp prst="textArchDown">
                <a:avLst/>
              </a:prstTxWarp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GB" sz="1400" b="1" dirty="0" err="1">
                  <a:solidFill>
                    <a:schemeClr val="accent5"/>
                  </a:solidFill>
                  <a:latin typeface="Georgia" pitchFamily="18" charset="0"/>
                </a:rPr>
                <a:t>XGBoost</a:t>
              </a:r>
              <a:endParaRPr lang="en-GB" sz="1400" b="1" dirty="0">
                <a:solidFill>
                  <a:schemeClr val="accent5"/>
                </a:solidFill>
                <a:latin typeface="Georgia" pitchFamily="18" charset="0"/>
              </a:endParaRP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82CADE7C-410F-455D-8428-6C80FCA7EC65}"/>
              </a:ext>
            </a:extLst>
          </p:cNvPr>
          <p:cNvGrpSpPr/>
          <p:nvPr/>
        </p:nvGrpSpPr>
        <p:grpSpPr>
          <a:xfrm>
            <a:off x="1529294" y="1985757"/>
            <a:ext cx="2693291" cy="491130"/>
            <a:chOff x="1536018" y="1966508"/>
            <a:chExt cx="2693291" cy="491130"/>
          </a:xfrm>
        </p:grpSpPr>
        <p:pic>
          <p:nvPicPr>
            <p:cNvPr id="108" name="Picture 107">
              <a:extLst>
                <a:ext uri="{FF2B5EF4-FFF2-40B4-BE49-F238E27FC236}">
                  <a16:creationId xmlns:a16="http://schemas.microsoft.com/office/drawing/2014/main" id="{8DB5A6B5-095F-4D7C-8F65-B90D35AEA50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36018" y="1966508"/>
              <a:ext cx="2693291" cy="491130"/>
            </a:xfrm>
            <a:prstGeom prst="rect">
              <a:avLst/>
            </a:prstGeom>
          </p:spPr>
        </p:pic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44E508C0-D0CD-40B9-ABF9-1A6410783D99}"/>
                </a:ext>
              </a:extLst>
            </p:cNvPr>
            <p:cNvSpPr/>
            <p:nvPr/>
          </p:nvSpPr>
          <p:spPr>
            <a:xfrm>
              <a:off x="2242544" y="2064205"/>
              <a:ext cx="246215" cy="252000"/>
            </a:xfrm>
            <a:prstGeom prst="ellipse">
              <a:avLst/>
            </a:prstGeom>
            <a:noFill/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ES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8773F567-00A8-4E5B-B50B-B3FBAD1AECB9}"/>
              </a:ext>
            </a:extLst>
          </p:cNvPr>
          <p:cNvGrpSpPr/>
          <p:nvPr/>
        </p:nvGrpSpPr>
        <p:grpSpPr>
          <a:xfrm>
            <a:off x="4586215" y="5814597"/>
            <a:ext cx="2608021" cy="423331"/>
            <a:chOff x="1730836" y="4817300"/>
            <a:chExt cx="2608021" cy="423331"/>
          </a:xfrm>
        </p:grpSpPr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id="{3A276A86-A9F6-47C6-A380-F47CAB351E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730836" y="4817300"/>
              <a:ext cx="2608021" cy="423331"/>
            </a:xfrm>
            <a:prstGeom prst="rect">
              <a:avLst/>
            </a:prstGeom>
          </p:spPr>
        </p:pic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4B7F6376-ABEA-4D6E-9FF2-F43E6D3C4F39}"/>
                </a:ext>
              </a:extLst>
            </p:cNvPr>
            <p:cNvSpPr/>
            <p:nvPr/>
          </p:nvSpPr>
          <p:spPr>
            <a:xfrm>
              <a:off x="2403000" y="4943167"/>
              <a:ext cx="246215" cy="252000"/>
            </a:xfrm>
            <a:prstGeom prst="ellipse">
              <a:avLst/>
            </a:prstGeom>
            <a:noFill/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ES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7E58383B-B250-463A-BC83-604C9C31C7DF}"/>
              </a:ext>
            </a:extLst>
          </p:cNvPr>
          <p:cNvGrpSpPr/>
          <p:nvPr/>
        </p:nvGrpSpPr>
        <p:grpSpPr>
          <a:xfrm>
            <a:off x="7733732" y="4472282"/>
            <a:ext cx="2623696" cy="483312"/>
            <a:chOff x="7763833" y="4712302"/>
            <a:chExt cx="2623696" cy="483312"/>
          </a:xfrm>
        </p:grpSpPr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AF073E10-62AC-463A-86A4-D50F45B3E19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763833" y="4712302"/>
              <a:ext cx="2623696" cy="483312"/>
            </a:xfrm>
            <a:prstGeom prst="rect">
              <a:avLst/>
            </a:prstGeom>
          </p:spPr>
        </p:pic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D477CF50-C197-4833-8656-E746D9CCB6C4}"/>
                </a:ext>
              </a:extLst>
            </p:cNvPr>
            <p:cNvSpPr/>
            <p:nvPr/>
          </p:nvSpPr>
          <p:spPr>
            <a:xfrm>
              <a:off x="8497127" y="4851815"/>
              <a:ext cx="246215" cy="252000"/>
            </a:xfrm>
            <a:prstGeom prst="ellipse">
              <a:avLst/>
            </a:prstGeom>
            <a:noFill/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ES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371E663D-388C-4D8A-B6E7-148098F70320}"/>
              </a:ext>
            </a:extLst>
          </p:cNvPr>
          <p:cNvGrpSpPr/>
          <p:nvPr/>
        </p:nvGrpSpPr>
        <p:grpSpPr>
          <a:xfrm>
            <a:off x="7578340" y="1998719"/>
            <a:ext cx="2710377" cy="458919"/>
            <a:chOff x="7578340" y="1998719"/>
            <a:chExt cx="2710377" cy="458919"/>
          </a:xfrm>
        </p:grpSpPr>
        <p:pic>
          <p:nvPicPr>
            <p:cNvPr id="117" name="Picture 116">
              <a:extLst>
                <a:ext uri="{FF2B5EF4-FFF2-40B4-BE49-F238E27FC236}">
                  <a16:creationId xmlns:a16="http://schemas.microsoft.com/office/drawing/2014/main" id="{0590BC3A-1A9A-4A06-82A6-88AB8668541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578340" y="1998719"/>
              <a:ext cx="2710377" cy="458919"/>
            </a:xfrm>
            <a:prstGeom prst="rect">
              <a:avLst/>
            </a:prstGeom>
          </p:spPr>
        </p:pic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853EF886-8C30-436B-BBF9-85D3A60E2188}"/>
                </a:ext>
              </a:extLst>
            </p:cNvPr>
            <p:cNvSpPr/>
            <p:nvPr/>
          </p:nvSpPr>
          <p:spPr>
            <a:xfrm>
              <a:off x="8345278" y="2141812"/>
              <a:ext cx="246215" cy="252000"/>
            </a:xfrm>
            <a:prstGeom prst="ellipse">
              <a:avLst/>
            </a:prstGeom>
            <a:noFill/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ES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0FE333E6-CA53-4DB6-84A3-3A6A8CB84E9B}"/>
              </a:ext>
            </a:extLst>
          </p:cNvPr>
          <p:cNvGrpSpPr/>
          <p:nvPr/>
        </p:nvGrpSpPr>
        <p:grpSpPr>
          <a:xfrm>
            <a:off x="1184881" y="4478584"/>
            <a:ext cx="2623836" cy="464507"/>
            <a:chOff x="1184881" y="4478584"/>
            <a:chExt cx="2623836" cy="464507"/>
          </a:xfrm>
        </p:grpSpPr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1FD13661-518A-4066-B3D5-F881BB8D80C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184881" y="4478584"/>
              <a:ext cx="2623836" cy="464507"/>
            </a:xfrm>
            <a:prstGeom prst="rect">
              <a:avLst/>
            </a:prstGeom>
          </p:spPr>
        </p:pic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968B26C7-1051-47B4-B610-99984C4EA452}"/>
                </a:ext>
              </a:extLst>
            </p:cNvPr>
            <p:cNvSpPr/>
            <p:nvPr/>
          </p:nvSpPr>
          <p:spPr>
            <a:xfrm>
              <a:off x="1901602" y="4616302"/>
              <a:ext cx="246215" cy="252000"/>
            </a:xfrm>
            <a:prstGeom prst="ellipse">
              <a:avLst/>
            </a:prstGeom>
            <a:noFill/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ES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23" name="Title 1">
            <a:extLst>
              <a:ext uri="{FF2B5EF4-FFF2-40B4-BE49-F238E27FC236}">
                <a16:creationId xmlns:a16="http://schemas.microsoft.com/office/drawing/2014/main" id="{8819F0D6-3333-4279-88F6-8307FDB3C9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 vert="horz"/>
          <a:lstStyle/>
          <a:p>
            <a:r>
              <a:rPr lang="es-ES" dirty="0"/>
              <a:t>Análisi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59D7D931-C366-43EA-9676-FEF6E92E54C7}"/>
              </a:ext>
            </a:extLst>
          </p:cNvPr>
          <p:cNvSpPr txBox="1"/>
          <p:nvPr/>
        </p:nvSpPr>
        <p:spPr>
          <a:xfrm rot="18511645">
            <a:off x="4183492" y="2814020"/>
            <a:ext cx="1983205" cy="124218"/>
          </a:xfrm>
          <a:prstGeom prst="rect">
            <a:avLst/>
          </a:prstGeom>
          <a:noFill/>
        </p:spPr>
        <p:txBody>
          <a:bodyPr wrap="square" lIns="0" tIns="0" rIns="0" bIns="0" rtlCol="0" anchor="ctr">
            <a:prstTxWarp prst="textArchUp">
              <a:avLst/>
            </a:prstTxWarp>
            <a:no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1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Georgia" pitchFamily="18" charset="0"/>
              </a:rPr>
              <a:t>0,9475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B7FE8206-80D9-49AE-9440-FA1AA3014E87}"/>
              </a:ext>
            </a:extLst>
          </p:cNvPr>
          <p:cNvSpPr txBox="1"/>
          <p:nvPr/>
        </p:nvSpPr>
        <p:spPr>
          <a:xfrm rot="2939262">
            <a:off x="5310032" y="2832903"/>
            <a:ext cx="1983205" cy="124218"/>
          </a:xfrm>
          <a:prstGeom prst="rect">
            <a:avLst/>
          </a:prstGeom>
          <a:noFill/>
        </p:spPr>
        <p:txBody>
          <a:bodyPr wrap="square" lIns="0" tIns="0" rIns="0" bIns="0" rtlCol="0" anchor="ctr">
            <a:prstTxWarp prst="textArchUp">
              <a:avLst/>
            </a:prstTxWarp>
            <a:no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1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Georgia" pitchFamily="18" charset="0"/>
              </a:rPr>
              <a:t>0,953194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17B45F31-76C4-46D1-8858-418588040AF8}"/>
              </a:ext>
            </a:extLst>
          </p:cNvPr>
          <p:cNvSpPr txBox="1"/>
          <p:nvPr/>
        </p:nvSpPr>
        <p:spPr>
          <a:xfrm rot="17643497">
            <a:off x="5973692" y="3957554"/>
            <a:ext cx="1983205" cy="124218"/>
          </a:xfrm>
          <a:prstGeom prst="rect">
            <a:avLst/>
          </a:prstGeom>
          <a:noFill/>
        </p:spPr>
        <p:txBody>
          <a:bodyPr wrap="square" lIns="0" tIns="0" rIns="0" bIns="0" rtlCol="0" anchor="ctr">
            <a:prstTxWarp prst="textArchUp">
              <a:avLst/>
            </a:prstTxWarp>
            <a:no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1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Georgia" pitchFamily="18" charset="0"/>
              </a:rPr>
              <a:t>0,94686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DA212FCF-1880-428D-B586-BA499966C60D}"/>
              </a:ext>
            </a:extLst>
          </p:cNvPr>
          <p:cNvSpPr txBox="1"/>
          <p:nvPr/>
        </p:nvSpPr>
        <p:spPr>
          <a:xfrm>
            <a:off x="4784690" y="4711508"/>
            <a:ext cx="1983205" cy="124218"/>
          </a:xfrm>
          <a:prstGeom prst="rect">
            <a:avLst/>
          </a:prstGeom>
          <a:noFill/>
        </p:spPr>
        <p:txBody>
          <a:bodyPr wrap="square" lIns="0" tIns="0" rIns="0" bIns="0" rtlCol="0" anchor="ctr">
            <a:prstTxWarp prst="textArchUp">
              <a:avLst/>
            </a:prstTxWarp>
            <a:no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1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Georgia" pitchFamily="18" charset="0"/>
              </a:rPr>
              <a:t>0,9456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694E55FC-548B-487B-A2E8-B13AE906DB45}"/>
              </a:ext>
            </a:extLst>
          </p:cNvPr>
          <p:cNvSpPr txBox="1"/>
          <p:nvPr/>
        </p:nvSpPr>
        <p:spPr>
          <a:xfrm rot="4377104">
            <a:off x="3594612" y="3940279"/>
            <a:ext cx="1983205" cy="124218"/>
          </a:xfrm>
          <a:prstGeom prst="rect">
            <a:avLst/>
          </a:prstGeom>
          <a:noFill/>
        </p:spPr>
        <p:txBody>
          <a:bodyPr wrap="square" lIns="0" tIns="0" rIns="0" bIns="0" rtlCol="0" anchor="ctr">
            <a:prstTxWarp prst="textArchUp">
              <a:avLst/>
            </a:prstTxWarp>
            <a:no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1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Georgia" pitchFamily="18" charset="0"/>
              </a:rPr>
              <a:t>0,53573</a:t>
            </a:r>
          </a:p>
        </p:txBody>
      </p:sp>
    </p:spTree>
    <p:extLst>
      <p:ext uri="{BB962C8B-B14F-4D97-AF65-F5344CB8AC3E}">
        <p14:creationId xmlns:p14="http://schemas.microsoft.com/office/powerpoint/2010/main" val="158324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05B79C9-C8B6-4D51-B753-EA4E0FECE0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6027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05B79C9-C8B6-4D51-B753-EA4E0FECE0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281E7E-806A-4037-A1AF-E70CED8728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IN"/>
              <a:t>2022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052062-027D-4904-A3CD-CDEB67688D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s-ES" smtClean="0"/>
              <a:pPr/>
              <a:t>9</a:t>
            </a:fld>
            <a:endParaRPr lang="es-E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EFC64FB-2024-4081-ADB5-869B4F377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 vert="horz"/>
          <a:lstStyle/>
          <a:p>
            <a:r>
              <a:rPr lang="es-ES" dirty="0"/>
              <a:t>Análisi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A741755-B8C8-40A1-B669-1C24D0AF392B}"/>
              </a:ext>
            </a:extLst>
          </p:cNvPr>
          <p:cNvGrpSpPr/>
          <p:nvPr/>
        </p:nvGrpSpPr>
        <p:grpSpPr>
          <a:xfrm>
            <a:off x="675858" y="1083185"/>
            <a:ext cx="2552370" cy="4512547"/>
            <a:chOff x="707664" y="1262268"/>
            <a:chExt cx="2552370" cy="4333464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C2411A2-16FC-4886-AA1D-AECF820FE310}"/>
                </a:ext>
              </a:extLst>
            </p:cNvPr>
            <p:cNvGrpSpPr/>
            <p:nvPr/>
          </p:nvGrpSpPr>
          <p:grpSpPr>
            <a:xfrm>
              <a:off x="707664" y="1262268"/>
              <a:ext cx="2552370" cy="4333464"/>
              <a:chOff x="1319915" y="1319917"/>
              <a:chExt cx="2552370" cy="4333464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4C49F80B-1F2F-4E94-94C3-AC172A858226}"/>
                  </a:ext>
                </a:extLst>
              </p:cNvPr>
              <p:cNvSpPr/>
              <p:nvPr/>
            </p:nvSpPr>
            <p:spPr>
              <a:xfrm>
                <a:off x="1319915" y="1319917"/>
                <a:ext cx="2552370" cy="4333464"/>
              </a:xfrm>
              <a:prstGeom prst="rect">
                <a:avLst/>
              </a:prstGeom>
              <a:solidFill>
                <a:schemeClr val="bg2">
                  <a:lumMod val="65000"/>
                  <a:lumOff val="3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s-E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D551F8C-E1ED-4331-8EF8-DDACD63AD1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9915" y="1438487"/>
                <a:ext cx="2075536" cy="4924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200" b="1" i="1" dirty="0">
                    <a:solidFill>
                      <a:srgbClr val="FFE600"/>
                    </a:solidFill>
                    <a:latin typeface="Georgia" pitchFamily="18" charset="0"/>
                  </a:rPr>
                  <a:t>Solution</a:t>
                </a:r>
              </a:p>
            </p:txBody>
          </p:sp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F61266A-47F7-4209-9269-F1C3602B655B}"/>
                </a:ext>
              </a:extLst>
            </p:cNvPr>
            <p:cNvSpPr/>
            <p:nvPr/>
          </p:nvSpPr>
          <p:spPr>
            <a:xfrm>
              <a:off x="1154304" y="2424253"/>
              <a:ext cx="1836752" cy="28728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r>
                <a:rPr lang="es-ES" sz="1600" b="1" i="1" dirty="0" err="1">
                  <a:solidFill>
                    <a:schemeClr val="tx1"/>
                  </a:solidFill>
                  <a:latin typeface="Georgia" panose="02040502050405020303" pitchFamily="18" charset="0"/>
                </a:rPr>
                <a:t>Random</a:t>
              </a:r>
              <a:r>
                <a:rPr lang="es-ES" sz="1600" b="1" i="1" dirty="0">
                  <a:solidFill>
                    <a:schemeClr val="tx1"/>
                  </a:solidFill>
                  <a:latin typeface="Georgia" panose="02040502050405020303" pitchFamily="18" charset="0"/>
                </a:rPr>
                <a:t> </a:t>
              </a:r>
              <a:r>
                <a:rPr lang="es-ES" sz="1600" b="1" i="1" dirty="0" err="1">
                  <a:solidFill>
                    <a:schemeClr val="tx1"/>
                  </a:solidFill>
                  <a:latin typeface="Georgia" panose="02040502050405020303" pitchFamily="18" charset="0"/>
                </a:rPr>
                <a:t>Search</a:t>
              </a:r>
              <a:endParaRPr lang="es-ES" sz="1600" b="1" i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77F99DA-D5B8-4079-B850-07F9629FAB89}"/>
                </a:ext>
              </a:extLst>
            </p:cNvPr>
            <p:cNvSpPr/>
            <p:nvPr/>
          </p:nvSpPr>
          <p:spPr>
            <a:xfrm>
              <a:off x="1122499" y="2915229"/>
              <a:ext cx="1836753" cy="16872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r>
                <a:rPr lang="es-ES" sz="1200" dirty="0">
                  <a:solidFill>
                    <a:schemeClr val="tx1"/>
                  </a:solidFill>
                  <a:latin typeface="EYInterstate Light" panose="02000506000000020004" pitchFamily="2" charset="0"/>
                </a:rPr>
                <a:t>Técnica para muestrear diferentes combinaciones de </a:t>
              </a:r>
              <a:r>
                <a:rPr lang="es-ES" sz="1200" dirty="0" err="1">
                  <a:solidFill>
                    <a:schemeClr val="tx1"/>
                  </a:solidFill>
                  <a:latin typeface="EYInterstate Light" panose="02000506000000020004" pitchFamily="2" charset="0"/>
                </a:rPr>
                <a:t>hiperparámetros</a:t>
              </a:r>
              <a:r>
                <a:rPr lang="es-ES" sz="1200" dirty="0">
                  <a:solidFill>
                    <a:schemeClr val="tx1"/>
                  </a:solidFill>
                  <a:latin typeface="EYInterstate Light" panose="02000506000000020004" pitchFamily="2" charset="0"/>
                </a:rPr>
                <a:t> con el fin de encontrar el conjunto óptimo de parámetros que proporcionará el modelo con el rendimiento / puntuación más óptimos.</a:t>
              </a:r>
              <a:endParaRPr lang="es-ES" sz="1200" dirty="0">
                <a:solidFill>
                  <a:schemeClr val="bg1"/>
                </a:solidFill>
                <a:latin typeface="EYInterstate" panose="02000503020000020004" pitchFamily="2" charset="0"/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EFFE9D6B-7124-49BB-A2D7-C69442382F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4868" y="1368504"/>
            <a:ext cx="7883635" cy="11488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299FA8A-99E9-40CB-976F-128A3B567D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32507" y="3895680"/>
            <a:ext cx="7883635" cy="557959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A8750B93-0FBF-4C9B-A0CE-7AF1FB6F188E}"/>
              </a:ext>
            </a:extLst>
          </p:cNvPr>
          <p:cNvGrpSpPr/>
          <p:nvPr/>
        </p:nvGrpSpPr>
        <p:grpSpPr>
          <a:xfrm>
            <a:off x="4307508" y="4650217"/>
            <a:ext cx="2734698" cy="839279"/>
            <a:chOff x="4156187" y="4644201"/>
            <a:chExt cx="2734698" cy="839279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1CB97D85-A281-44AD-ADD1-E2F3CD104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73702" y="4702839"/>
              <a:ext cx="2000250" cy="704850"/>
            </a:xfrm>
            <a:prstGeom prst="rect">
              <a:avLst/>
            </a:prstGeom>
          </p:spPr>
        </p:pic>
        <p:sp>
          <p:nvSpPr>
            <p:cNvPr id="25" name="Rectangle 10">
              <a:extLst>
                <a:ext uri="{FF2B5EF4-FFF2-40B4-BE49-F238E27FC236}">
                  <a16:creationId xmlns:a16="http://schemas.microsoft.com/office/drawing/2014/main" id="{CA370273-8E4B-4BA5-B429-AF78F02253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6187" y="4702839"/>
              <a:ext cx="415056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i="1" dirty="0">
                  <a:solidFill>
                    <a:schemeClr val="bg2"/>
                  </a:solidFill>
                  <a:latin typeface="Georgia" pitchFamily="18" charset="0"/>
                </a:rPr>
                <a:t>1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242A6DF-083C-42F9-8CD4-0F795DC138ED}"/>
                </a:ext>
              </a:extLst>
            </p:cNvPr>
            <p:cNvSpPr/>
            <p:nvPr/>
          </p:nvSpPr>
          <p:spPr>
            <a:xfrm>
              <a:off x="4179491" y="4644201"/>
              <a:ext cx="2711394" cy="839279"/>
            </a:xfrm>
            <a:prstGeom prst="rect">
              <a:avLst/>
            </a:prstGeom>
            <a:noFill/>
            <a:ln w="9525">
              <a:solidFill>
                <a:srgbClr val="6F6D6D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ES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4EC55E3-F389-45D5-934F-FEF18BE1145E}"/>
              </a:ext>
            </a:extLst>
          </p:cNvPr>
          <p:cNvGrpSpPr/>
          <p:nvPr/>
        </p:nvGrpSpPr>
        <p:grpSpPr>
          <a:xfrm>
            <a:off x="4373767" y="2592635"/>
            <a:ext cx="2734698" cy="830213"/>
            <a:chOff x="4156187" y="4644201"/>
            <a:chExt cx="2734698" cy="830213"/>
          </a:xfrm>
        </p:grpSpPr>
        <p:sp>
          <p:nvSpPr>
            <p:cNvPr id="31" name="Rectangle 10">
              <a:extLst>
                <a:ext uri="{FF2B5EF4-FFF2-40B4-BE49-F238E27FC236}">
                  <a16:creationId xmlns:a16="http://schemas.microsoft.com/office/drawing/2014/main" id="{0570EA74-39C7-4B4A-8448-1843B941CD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6187" y="4702839"/>
              <a:ext cx="415056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i="1" dirty="0">
                  <a:solidFill>
                    <a:schemeClr val="bg2"/>
                  </a:solidFill>
                  <a:latin typeface="Georgia" pitchFamily="18" charset="0"/>
                </a:rPr>
                <a:t>1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C6EA76D-9A36-4F73-B7C3-7C0C73095B1F}"/>
                </a:ext>
              </a:extLst>
            </p:cNvPr>
            <p:cNvSpPr/>
            <p:nvPr/>
          </p:nvSpPr>
          <p:spPr>
            <a:xfrm>
              <a:off x="4179491" y="4644201"/>
              <a:ext cx="2711394" cy="830213"/>
            </a:xfrm>
            <a:prstGeom prst="rect">
              <a:avLst/>
            </a:prstGeom>
            <a:noFill/>
            <a:ln w="9525">
              <a:solidFill>
                <a:srgbClr val="6F6D6D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ES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883C8BB6-A57D-40BC-9B2D-F959E59E372E}"/>
              </a:ext>
            </a:extLst>
          </p:cNvPr>
          <p:cNvGrpSpPr/>
          <p:nvPr/>
        </p:nvGrpSpPr>
        <p:grpSpPr>
          <a:xfrm>
            <a:off x="7769791" y="2592635"/>
            <a:ext cx="3592622" cy="836365"/>
            <a:chOff x="7769791" y="2592635"/>
            <a:chExt cx="3592622" cy="836365"/>
          </a:xfrm>
        </p:grpSpPr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32BBC7AA-FE44-4872-B5F3-809341510A4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424620" y="2861182"/>
              <a:ext cx="2728156" cy="460171"/>
            </a:xfrm>
            <a:prstGeom prst="rect">
              <a:avLst/>
            </a:prstGeom>
          </p:spPr>
        </p:pic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351B690-F02B-49FF-93DD-FF5C6516F3CE}"/>
                </a:ext>
              </a:extLst>
            </p:cNvPr>
            <p:cNvGrpSpPr/>
            <p:nvPr/>
          </p:nvGrpSpPr>
          <p:grpSpPr>
            <a:xfrm>
              <a:off x="7769791" y="2592635"/>
              <a:ext cx="3592622" cy="836365"/>
              <a:chOff x="4156187" y="4644201"/>
              <a:chExt cx="3592622" cy="836365"/>
            </a:xfrm>
          </p:grpSpPr>
          <p:sp>
            <p:nvSpPr>
              <p:cNvPr id="34" name="Rectangle 10">
                <a:extLst>
                  <a:ext uri="{FF2B5EF4-FFF2-40B4-BE49-F238E27FC236}">
                    <a16:creationId xmlns:a16="http://schemas.microsoft.com/office/drawing/2014/main" id="{D77C8437-BFC8-405B-9D92-CBD455CA1A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6187" y="4702839"/>
                <a:ext cx="415056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 i="1" dirty="0">
                    <a:solidFill>
                      <a:schemeClr val="bg2"/>
                    </a:solidFill>
                    <a:latin typeface="Georgia" pitchFamily="18" charset="0"/>
                  </a:rPr>
                  <a:t>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9224EAD-784C-4F6B-92E1-211AEA1E6C5D}"/>
                  </a:ext>
                </a:extLst>
              </p:cNvPr>
              <p:cNvSpPr/>
              <p:nvPr/>
            </p:nvSpPr>
            <p:spPr>
              <a:xfrm>
                <a:off x="4179490" y="4644201"/>
                <a:ext cx="3569319" cy="836365"/>
              </a:xfrm>
              <a:prstGeom prst="rect">
                <a:avLst/>
              </a:prstGeom>
              <a:noFill/>
              <a:ln w="9525">
                <a:solidFill>
                  <a:srgbClr val="6F6D6D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s-ES" sz="12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39" name="Oval 38">
            <a:extLst>
              <a:ext uri="{FF2B5EF4-FFF2-40B4-BE49-F238E27FC236}">
                <a16:creationId xmlns:a16="http://schemas.microsoft.com/office/drawing/2014/main" id="{D36F6E9B-0FAD-4040-941A-AFC32A635184}"/>
              </a:ext>
            </a:extLst>
          </p:cNvPr>
          <p:cNvSpPr/>
          <p:nvPr/>
        </p:nvSpPr>
        <p:spPr>
          <a:xfrm>
            <a:off x="9493857" y="2800249"/>
            <a:ext cx="311577" cy="314504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" sz="1200" dirty="0">
              <a:solidFill>
                <a:schemeClr val="tx1"/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E6983075-BC7D-474D-A4E8-D17966D30909}"/>
              </a:ext>
            </a:extLst>
          </p:cNvPr>
          <p:cNvSpPr/>
          <p:nvPr/>
        </p:nvSpPr>
        <p:spPr>
          <a:xfrm>
            <a:off x="9138440" y="2975532"/>
            <a:ext cx="311577" cy="314504"/>
          </a:xfrm>
          <a:prstGeom prst="ellipse">
            <a:avLst/>
          </a:prstGeom>
          <a:noFill/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" sz="1200" dirty="0">
              <a:solidFill>
                <a:schemeClr val="tx1"/>
              </a:solidFill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565121B-F536-445E-AA4C-5FFDBD02BB41}"/>
              </a:ext>
            </a:extLst>
          </p:cNvPr>
          <p:cNvCxnSpPr/>
          <p:nvPr/>
        </p:nvCxnSpPr>
        <p:spPr>
          <a:xfrm>
            <a:off x="8840110" y="4113499"/>
            <a:ext cx="389615" cy="0"/>
          </a:xfrm>
          <a:prstGeom prst="line">
            <a:avLst/>
          </a:prstGeom>
          <a:ln w="28575"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E95B7A75-C037-4777-9650-FF1D35D2D9EA}"/>
              </a:ext>
            </a:extLst>
          </p:cNvPr>
          <p:cNvSpPr/>
          <p:nvPr/>
        </p:nvSpPr>
        <p:spPr>
          <a:xfrm>
            <a:off x="3674868" y="1083185"/>
            <a:ext cx="1836752" cy="18270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1100" b="1" i="1" dirty="0" err="1">
                <a:solidFill>
                  <a:schemeClr val="bg1"/>
                </a:solidFill>
                <a:latin typeface="Georgia" panose="02040502050405020303" pitchFamily="18" charset="0"/>
              </a:rPr>
              <a:t>Random</a:t>
            </a:r>
            <a:r>
              <a:rPr lang="es-ES" sz="1100" b="1" i="1" dirty="0">
                <a:solidFill>
                  <a:schemeClr val="bg1"/>
                </a:solidFill>
                <a:latin typeface="Georgia" panose="02040502050405020303" pitchFamily="18" charset="0"/>
              </a:rPr>
              <a:t> Fores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195A736-F0C8-4FBD-B6A0-FAFE4E31EDE9}"/>
              </a:ext>
            </a:extLst>
          </p:cNvPr>
          <p:cNvSpPr/>
          <p:nvPr/>
        </p:nvSpPr>
        <p:spPr>
          <a:xfrm>
            <a:off x="3674868" y="3676720"/>
            <a:ext cx="1836752" cy="18270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s-ES" sz="1100" b="1" i="1" dirty="0" err="1">
                <a:solidFill>
                  <a:schemeClr val="bg1"/>
                </a:solidFill>
                <a:latin typeface="Georgia" panose="02040502050405020303" pitchFamily="18" charset="0"/>
              </a:rPr>
              <a:t>XGBoost</a:t>
            </a:r>
            <a:endParaRPr lang="es-ES" sz="1100" b="1" i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24B1A91-9380-4633-9E0C-DA2222E9B4DE}"/>
              </a:ext>
            </a:extLst>
          </p:cNvPr>
          <p:cNvGrpSpPr/>
          <p:nvPr/>
        </p:nvGrpSpPr>
        <p:grpSpPr>
          <a:xfrm>
            <a:off x="7703532" y="4650217"/>
            <a:ext cx="3592622" cy="839279"/>
            <a:chOff x="7703532" y="4650217"/>
            <a:chExt cx="3592622" cy="839279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AB251D96-D495-4224-84C5-DA486EEA39B1}"/>
                </a:ext>
              </a:extLst>
            </p:cNvPr>
            <p:cNvGrpSpPr/>
            <p:nvPr/>
          </p:nvGrpSpPr>
          <p:grpSpPr>
            <a:xfrm>
              <a:off x="7703532" y="4650217"/>
              <a:ext cx="3592622" cy="839279"/>
              <a:chOff x="4156187" y="4644201"/>
              <a:chExt cx="3592622" cy="839279"/>
            </a:xfrm>
          </p:grpSpPr>
          <p:sp>
            <p:nvSpPr>
              <p:cNvPr id="37" name="Rectangle 10">
                <a:extLst>
                  <a:ext uri="{FF2B5EF4-FFF2-40B4-BE49-F238E27FC236}">
                    <a16:creationId xmlns:a16="http://schemas.microsoft.com/office/drawing/2014/main" id="{D3CA41DA-26C6-4C02-A0E7-40D4688672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6187" y="4702839"/>
                <a:ext cx="415056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 i="1" dirty="0">
                    <a:solidFill>
                      <a:schemeClr val="bg2"/>
                    </a:solidFill>
                    <a:latin typeface="Georgia" pitchFamily="18" charset="0"/>
                  </a:rPr>
                  <a:t>2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5DAB3AC0-56C7-4EEB-809A-D5EB52BBA161}"/>
                  </a:ext>
                </a:extLst>
              </p:cNvPr>
              <p:cNvSpPr/>
              <p:nvPr/>
            </p:nvSpPr>
            <p:spPr>
              <a:xfrm>
                <a:off x="4179490" y="4644201"/>
                <a:ext cx="3569319" cy="839279"/>
              </a:xfrm>
              <a:prstGeom prst="rect">
                <a:avLst/>
              </a:prstGeom>
              <a:noFill/>
              <a:ln w="9525">
                <a:solidFill>
                  <a:srgbClr val="6F6D6D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s-ES" sz="12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B3DF1D0C-5D09-4C06-AFC5-626A60752CC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435253" y="4831965"/>
              <a:ext cx="2815789" cy="504320"/>
            </a:xfrm>
            <a:prstGeom prst="rect">
              <a:avLst/>
            </a:prstGeom>
          </p:spPr>
        </p:pic>
      </p:grpSp>
      <p:sp>
        <p:nvSpPr>
          <p:cNvPr id="50" name="Oval 49">
            <a:extLst>
              <a:ext uri="{FF2B5EF4-FFF2-40B4-BE49-F238E27FC236}">
                <a16:creationId xmlns:a16="http://schemas.microsoft.com/office/drawing/2014/main" id="{A5038D5B-4B77-4849-8ED8-CAD8779A3862}"/>
              </a:ext>
            </a:extLst>
          </p:cNvPr>
          <p:cNvSpPr/>
          <p:nvPr/>
        </p:nvSpPr>
        <p:spPr>
          <a:xfrm>
            <a:off x="9561851" y="4766506"/>
            <a:ext cx="311577" cy="314504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" sz="1200" dirty="0">
              <a:solidFill>
                <a:schemeClr val="tx1"/>
              </a:solidFill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DB162104-4B3B-468E-81CC-A01BCA939D56}"/>
              </a:ext>
            </a:extLst>
          </p:cNvPr>
          <p:cNvSpPr/>
          <p:nvPr/>
        </p:nvSpPr>
        <p:spPr>
          <a:xfrm>
            <a:off x="9210972" y="4965649"/>
            <a:ext cx="311577" cy="314504"/>
          </a:xfrm>
          <a:prstGeom prst="ellipse">
            <a:avLst/>
          </a:prstGeom>
          <a:noFill/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ES" sz="1200" dirty="0">
              <a:solidFill>
                <a:schemeClr val="tx1"/>
              </a:solidFill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61B5A4A2-8846-47F8-85D8-54E0A318F52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91197" y="2611251"/>
            <a:ext cx="2022531" cy="796483"/>
          </a:xfrm>
          <a:prstGeom prst="rect">
            <a:avLst/>
          </a:prstGeom>
        </p:spPr>
      </p:pic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9B2FCDC-24AE-444B-B973-363E03F74B0F}"/>
              </a:ext>
            </a:extLst>
          </p:cNvPr>
          <p:cNvCxnSpPr/>
          <p:nvPr/>
        </p:nvCxnSpPr>
        <p:spPr>
          <a:xfrm>
            <a:off x="7146568" y="2225182"/>
            <a:ext cx="389615" cy="0"/>
          </a:xfrm>
          <a:prstGeom prst="line">
            <a:avLst/>
          </a:prstGeom>
          <a:ln w="28575"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666C15B1-DED3-4558-9BF4-E2C2C9502915}"/>
              </a:ext>
            </a:extLst>
          </p:cNvPr>
          <p:cNvGrpSpPr/>
          <p:nvPr/>
        </p:nvGrpSpPr>
        <p:grpSpPr>
          <a:xfrm>
            <a:off x="7123749" y="1984332"/>
            <a:ext cx="399775" cy="420888"/>
            <a:chOff x="7327060" y="3495595"/>
            <a:chExt cx="399775" cy="420888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36E80ED0-7A28-4CA3-B00F-D9F38BAD44DC}"/>
                </a:ext>
              </a:extLst>
            </p:cNvPr>
            <p:cNvSpPr/>
            <p:nvPr/>
          </p:nvSpPr>
          <p:spPr>
            <a:xfrm>
              <a:off x="7327060" y="3495595"/>
              <a:ext cx="351363" cy="362250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ES" sz="12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EDBE5F88-7F93-48B9-AB6D-AC176ECF731B}"/>
                </a:ext>
              </a:extLst>
            </p:cNvPr>
            <p:cNvSpPr/>
            <p:nvPr/>
          </p:nvSpPr>
          <p:spPr>
            <a:xfrm>
              <a:off x="7365491" y="3547718"/>
              <a:ext cx="361344" cy="36876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r>
                <a:rPr lang="es-ES" sz="2000" b="1" i="1" dirty="0">
                  <a:solidFill>
                    <a:schemeClr val="bg1"/>
                  </a:solidFill>
                  <a:latin typeface="Georgia" panose="02040502050405020303" pitchFamily="18" charset="0"/>
                </a:rPr>
                <a:t>F1</a:t>
              </a:r>
              <a:endParaRPr lang="es-ES" sz="1100" b="1" i="1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52BF140-CEF9-44A4-AA98-BE86378AB523}"/>
              </a:ext>
            </a:extLst>
          </p:cNvPr>
          <p:cNvGrpSpPr/>
          <p:nvPr/>
        </p:nvGrpSpPr>
        <p:grpSpPr>
          <a:xfrm>
            <a:off x="8815903" y="3895680"/>
            <a:ext cx="438027" cy="412230"/>
            <a:chOff x="7108465" y="2011630"/>
            <a:chExt cx="438027" cy="412230"/>
          </a:xfrm>
        </p:grpSpPr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F5942928-CBE6-42C9-A4B3-B78498D655E8}"/>
                </a:ext>
              </a:extLst>
            </p:cNvPr>
            <p:cNvCxnSpPr/>
            <p:nvPr/>
          </p:nvCxnSpPr>
          <p:spPr>
            <a:xfrm>
              <a:off x="7108465" y="2225472"/>
              <a:ext cx="389615" cy="0"/>
            </a:xfrm>
            <a:prstGeom prst="line">
              <a:avLst/>
            </a:prstGeom>
            <a:ln w="28575">
              <a:tailEnd type="non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3E3D37AB-CE15-4696-8CBD-DDB8E1FB2B10}"/>
                </a:ext>
              </a:extLst>
            </p:cNvPr>
            <p:cNvSpPr/>
            <p:nvPr/>
          </p:nvSpPr>
          <p:spPr>
            <a:xfrm>
              <a:off x="7146717" y="2011630"/>
              <a:ext cx="351363" cy="362250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ES" sz="1200" dirty="0">
                <a:solidFill>
                  <a:schemeClr val="tx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702DD36-D648-4697-8F0A-3E06CA0BB0BB}"/>
                </a:ext>
              </a:extLst>
            </p:cNvPr>
            <p:cNvSpPr/>
            <p:nvPr/>
          </p:nvSpPr>
          <p:spPr>
            <a:xfrm>
              <a:off x="7185148" y="2055095"/>
              <a:ext cx="361344" cy="36876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r>
                <a:rPr lang="es-ES" sz="2000" b="1" i="1" dirty="0">
                  <a:solidFill>
                    <a:schemeClr val="bg1"/>
                  </a:solidFill>
                  <a:latin typeface="Georgia" panose="02040502050405020303" pitchFamily="18" charset="0"/>
                </a:rPr>
                <a:t>F1</a:t>
              </a:r>
              <a:endParaRPr lang="es-ES" sz="1100" b="1" i="1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7727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50" grpId="0" animBg="1"/>
      <p:bldP spid="5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90</TotalTime>
  <Words>629</Words>
  <Application>Microsoft Office PowerPoint</Application>
  <PresentationFormat>Widescreen</PresentationFormat>
  <Paragraphs>188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Calibri</vt:lpstr>
      <vt:lpstr>Calibri Light</vt:lpstr>
      <vt:lpstr>EYInterstate</vt:lpstr>
      <vt:lpstr>EYInterstate Light</vt:lpstr>
      <vt:lpstr>EYInterstate Regular</vt:lpstr>
      <vt:lpstr>Georgia</vt:lpstr>
      <vt:lpstr>Wingdings</vt:lpstr>
      <vt:lpstr>Office Theme</vt:lpstr>
      <vt:lpstr>1_EY light background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delo</vt:lpstr>
      <vt:lpstr>PowerPoint Presentation</vt:lpstr>
      <vt:lpstr>Análisis</vt:lpstr>
      <vt:lpstr>Análisis</vt:lpstr>
      <vt:lpstr>PowerPoint Presentation</vt:lpstr>
      <vt:lpstr>Análisi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es Campos Gamez</dc:creator>
  <cp:lastModifiedBy>Ines Campos Gamez</cp:lastModifiedBy>
  <cp:revision>1</cp:revision>
  <dcterms:created xsi:type="dcterms:W3CDTF">2022-12-21T18:54:01Z</dcterms:created>
  <dcterms:modified xsi:type="dcterms:W3CDTF">2022-12-22T13:32:41Z</dcterms:modified>
</cp:coreProperties>
</file>